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33"/>
  </p:notesMasterIdLst>
  <p:sldIdLst>
    <p:sldId id="256" r:id="rId2"/>
    <p:sldId id="257" r:id="rId3"/>
    <p:sldId id="258" r:id="rId4"/>
    <p:sldId id="259" r:id="rId5"/>
    <p:sldId id="289" r:id="rId6"/>
    <p:sldId id="265" r:id="rId7"/>
    <p:sldId id="291" r:id="rId8"/>
    <p:sldId id="288" r:id="rId9"/>
    <p:sldId id="264" r:id="rId10"/>
    <p:sldId id="292" r:id="rId11"/>
    <p:sldId id="266" r:id="rId12"/>
    <p:sldId id="267" r:id="rId13"/>
    <p:sldId id="268" r:id="rId14"/>
    <p:sldId id="269" r:id="rId15"/>
    <p:sldId id="270" r:id="rId16"/>
    <p:sldId id="272" r:id="rId17"/>
    <p:sldId id="273" r:id="rId18"/>
    <p:sldId id="274" r:id="rId19"/>
    <p:sldId id="275" r:id="rId20"/>
    <p:sldId id="276" r:id="rId21"/>
    <p:sldId id="277" r:id="rId22"/>
    <p:sldId id="278" r:id="rId23"/>
    <p:sldId id="279" r:id="rId24"/>
    <p:sldId id="280" r:id="rId25"/>
    <p:sldId id="281" r:id="rId26"/>
    <p:sldId id="282" r:id="rId27"/>
    <p:sldId id="283" r:id="rId28"/>
    <p:sldId id="284" r:id="rId29"/>
    <p:sldId id="285" r:id="rId30"/>
    <p:sldId id="286" r:id="rId31"/>
    <p:sldId id="287" r:id="rId32"/>
  </p:sldIdLst>
  <p:sldSz cx="12192000" cy="6858000"/>
  <p:notesSz cx="12192000" cy="6858000"/>
  <p:embeddedFontLst>
    <p:embeddedFont>
      <p:font typeface="EYInterstate Light" panose="02000506000000020004" pitchFamily="2" charset="0"/>
      <p:regular r:id="rId34"/>
      <p:bold r:id="rId35"/>
      <p:italic r:id="rId36"/>
      <p:boldItalic r:id="rId37"/>
    </p:embeddedFont>
    <p:embeddedFont>
      <p:font typeface="EYInterstate-Light" panose="020B0604020202020204" charset="0"/>
      <p:regular r:id="rId38"/>
      <p:bold r:id="rId39"/>
      <p:italic r:id="rId40"/>
      <p:boldItalic r:id="rId41"/>
    </p:embeddedFont>
  </p:embeddedFontLst>
  <p:defaultTextStyle/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BE20"/>
    <a:srgbClr val="4B71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59" d="100"/>
          <a:sy n="59" d="100"/>
        </p:scale>
        <p:origin x="940" y="76"/>
      </p:cViewPr>
      <p:guideLst>
        <p:guide orient="horz" pos="211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6.fntdata"/><Relationship Id="rId21" Type="http://schemas.openxmlformats.org/officeDocument/2006/relationships/slide" Target="slides/slide20.xml"/><Relationship Id="rId34" Type="http://schemas.openxmlformats.org/officeDocument/2006/relationships/font" Target="fonts/font1.fntdata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4.fntdata"/><Relationship Id="rId40" Type="http://schemas.openxmlformats.org/officeDocument/2006/relationships/font" Target="fonts/font7.fntdata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3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font" Target="fonts/font2.fntdata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font" Target="fonts/font5.fntdata"/><Relationship Id="rId20" Type="http://schemas.openxmlformats.org/officeDocument/2006/relationships/slide" Target="slides/slide19.xml"/><Relationship Id="rId41" Type="http://schemas.openxmlformats.org/officeDocument/2006/relationships/font" Target="fonts/font8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72C70C-1802-4AEB-9BF7-17BF5232035B}" type="datetimeFigureOut">
              <a:rPr lang="en-US" smtClean="0"/>
              <a:t>11/1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AEA035-6CF0-4DB0-A444-B6E2B36157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7173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EA035-6CF0-4DB0-A444-B6E2B36157A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2018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AEA035-6CF0-4DB0-A444-B6E2B36157A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1050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7F582EA-AAF4-C2CA-63F8-74C25B29BD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53940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/>
    <p:bodyStyle/>
    <p:otherStyle/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42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13" Type="http://schemas.openxmlformats.org/officeDocument/2006/relationships/image" Target="../media/image71.pn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12" Type="http://schemas.openxmlformats.org/officeDocument/2006/relationships/image" Target="../media/image70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4.png"/><Relationship Id="rId11" Type="http://schemas.openxmlformats.org/officeDocument/2006/relationships/image" Target="../media/image69.png"/><Relationship Id="rId5" Type="http://schemas.openxmlformats.org/officeDocument/2006/relationships/image" Target="../media/image63.png"/><Relationship Id="rId10" Type="http://schemas.openxmlformats.org/officeDocument/2006/relationships/image" Target="../media/image68.png"/><Relationship Id="rId4" Type="http://schemas.openxmlformats.org/officeDocument/2006/relationships/image" Target="../media/image62.png"/><Relationship Id="rId9" Type="http://schemas.openxmlformats.org/officeDocument/2006/relationships/image" Target="../media/image67.png"/><Relationship Id="rId14" Type="http://schemas.openxmlformats.org/officeDocument/2006/relationships/image" Target="../media/image72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3" Type="http://schemas.openxmlformats.org/officeDocument/2006/relationships/image" Target="../media/image20.png"/><Relationship Id="rId21" Type="http://schemas.openxmlformats.org/officeDocument/2006/relationships/image" Target="../media/image36.png"/><Relationship Id="rId7" Type="http://schemas.openxmlformats.org/officeDocument/2006/relationships/image" Target="../media/image24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1.png"/><Relationship Id="rId20" Type="http://schemas.openxmlformats.org/officeDocument/2006/relationships/image" Target="../media/image35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11" Type="http://schemas.microsoft.com/office/2007/relationships/hdphoto" Target="../media/hdphoto2.wdp"/><Relationship Id="rId5" Type="http://schemas.openxmlformats.org/officeDocument/2006/relationships/image" Target="../media/image22.png"/><Relationship Id="rId15" Type="http://schemas.openxmlformats.org/officeDocument/2006/relationships/image" Target="../media/image30.png"/><Relationship Id="rId10" Type="http://schemas.openxmlformats.org/officeDocument/2006/relationships/image" Target="../media/image26.png"/><Relationship Id="rId19" Type="http://schemas.openxmlformats.org/officeDocument/2006/relationships/image" Target="../media/image34.png"/><Relationship Id="rId4" Type="http://schemas.openxmlformats.org/officeDocument/2006/relationships/image" Target="../media/image21.png"/><Relationship Id="rId9" Type="http://schemas.microsoft.com/office/2007/relationships/hdphoto" Target="../media/hdphoto1.wdp"/><Relationship Id="rId1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Freeform 100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101" name="Picture 101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102" name="Freeform 102"/>
          <p:cNvSpPr/>
          <p:nvPr/>
        </p:nvSpPr>
        <p:spPr>
          <a:xfrm>
            <a:off x="304800" y="295276"/>
            <a:ext cx="11582400" cy="6285991"/>
          </a:xfrm>
          <a:custGeom>
            <a:avLst/>
            <a:gdLst/>
            <a:ahLst/>
            <a:cxnLst/>
            <a:rect l="0" t="0" r="0" b="0"/>
            <a:pathLst>
              <a:path w="11582400" h="6285991">
                <a:moveTo>
                  <a:pt x="0" y="6285991"/>
                </a:moveTo>
                <a:lnTo>
                  <a:pt x="11582400" y="6285991"/>
                </a:lnTo>
                <a:lnTo>
                  <a:pt x="11582400" y="0"/>
                </a:lnTo>
                <a:lnTo>
                  <a:pt x="0" y="0"/>
                </a:lnTo>
                <a:lnTo>
                  <a:pt x="0" y="6285991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103" name="Picture 103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068050" y="1495425"/>
            <a:ext cx="114298" cy="114300"/>
          </a:xfrm>
          <a:prstGeom prst="rect">
            <a:avLst/>
          </a:prstGeom>
          <a:noFill/>
        </p:spPr>
      </p:pic>
      <p:sp>
        <p:nvSpPr>
          <p:cNvPr id="104" name="Freeform 104"/>
          <p:cNvSpPr/>
          <p:nvPr/>
        </p:nvSpPr>
        <p:spPr>
          <a:xfrm>
            <a:off x="11106150" y="3190875"/>
            <a:ext cx="37972" cy="37973"/>
          </a:xfrm>
          <a:custGeom>
            <a:avLst/>
            <a:gdLst/>
            <a:ahLst/>
            <a:cxnLst/>
            <a:rect l="0" t="0" r="0" b="0"/>
            <a:pathLst>
              <a:path w="37972" h="37973">
                <a:moveTo>
                  <a:pt x="19177" y="0"/>
                </a:moveTo>
                <a:lnTo>
                  <a:pt x="12065" y="1016"/>
                </a:lnTo>
                <a:lnTo>
                  <a:pt x="5715" y="4827"/>
                </a:lnTo>
                <a:lnTo>
                  <a:pt x="1523" y="10796"/>
                </a:lnTo>
                <a:lnTo>
                  <a:pt x="0" y="17908"/>
                </a:lnTo>
                <a:lnTo>
                  <a:pt x="1269" y="25020"/>
                </a:lnTo>
                <a:lnTo>
                  <a:pt x="5460" y="31623"/>
                </a:lnTo>
                <a:lnTo>
                  <a:pt x="11683" y="36196"/>
                </a:lnTo>
                <a:lnTo>
                  <a:pt x="18795" y="37973"/>
                </a:lnTo>
                <a:lnTo>
                  <a:pt x="25907" y="36958"/>
                </a:lnTo>
                <a:lnTo>
                  <a:pt x="32257" y="33147"/>
                </a:lnTo>
                <a:lnTo>
                  <a:pt x="36448" y="27179"/>
                </a:lnTo>
                <a:lnTo>
                  <a:pt x="37972" y="20066"/>
                </a:lnTo>
                <a:lnTo>
                  <a:pt x="36576" y="12828"/>
                </a:lnTo>
                <a:lnTo>
                  <a:pt x="32511" y="6223"/>
                </a:lnTo>
                <a:lnTo>
                  <a:pt x="26289" y="1779"/>
                </a:lnTo>
                <a:lnTo>
                  <a:pt x="19177" y="0"/>
                </a:lnTo>
                <a:close/>
                <a:moveTo>
                  <a:pt x="-7439025" y="3667125"/>
                </a:moveTo>
              </a:path>
            </a:pathLst>
          </a:custGeom>
          <a:solidFill>
            <a:srgbClr val="D2DFE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05" name="Freeform 105"/>
          <p:cNvSpPr/>
          <p:nvPr/>
        </p:nvSpPr>
        <p:spPr>
          <a:xfrm>
            <a:off x="11110976" y="3195702"/>
            <a:ext cx="37845" cy="37845"/>
          </a:xfrm>
          <a:custGeom>
            <a:avLst/>
            <a:gdLst/>
            <a:ahLst/>
            <a:cxnLst/>
            <a:rect l="0" t="0" r="0" b="0"/>
            <a:pathLst>
              <a:path w="37845" h="37845">
                <a:moveTo>
                  <a:pt x="32512" y="6222"/>
                </a:moveTo>
                <a:lnTo>
                  <a:pt x="26162" y="1777"/>
                </a:lnTo>
                <a:lnTo>
                  <a:pt x="19050" y="0"/>
                </a:lnTo>
                <a:lnTo>
                  <a:pt x="11938" y="889"/>
                </a:lnTo>
                <a:lnTo>
                  <a:pt x="5588" y="4826"/>
                </a:lnTo>
                <a:lnTo>
                  <a:pt x="1396" y="10795"/>
                </a:lnTo>
                <a:lnTo>
                  <a:pt x="0" y="17779"/>
                </a:lnTo>
                <a:lnTo>
                  <a:pt x="1269" y="25019"/>
                </a:lnTo>
                <a:lnTo>
                  <a:pt x="5333" y="31495"/>
                </a:lnTo>
                <a:lnTo>
                  <a:pt x="11556" y="36068"/>
                </a:lnTo>
                <a:lnTo>
                  <a:pt x="18668" y="37845"/>
                </a:lnTo>
                <a:lnTo>
                  <a:pt x="25907" y="36957"/>
                </a:lnTo>
                <a:lnTo>
                  <a:pt x="32130" y="33146"/>
                </a:lnTo>
                <a:lnTo>
                  <a:pt x="36449" y="27051"/>
                </a:lnTo>
                <a:lnTo>
                  <a:pt x="37845" y="20065"/>
                </a:lnTo>
                <a:lnTo>
                  <a:pt x="36576" y="12827"/>
                </a:lnTo>
                <a:lnTo>
                  <a:pt x="32512" y="6222"/>
                </a:lnTo>
                <a:close/>
                <a:moveTo>
                  <a:pt x="-7454900" y="3662298"/>
                </a:move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06" name="Freeform 106"/>
          <p:cNvSpPr/>
          <p:nvPr/>
        </p:nvSpPr>
        <p:spPr>
          <a:xfrm>
            <a:off x="12172950" y="2800350"/>
            <a:ext cx="18542" cy="56770"/>
          </a:xfrm>
          <a:custGeom>
            <a:avLst/>
            <a:gdLst/>
            <a:ahLst/>
            <a:cxnLst/>
            <a:rect l="0" t="0" r="0" b="0"/>
            <a:pathLst>
              <a:path w="18542" h="56770">
                <a:moveTo>
                  <a:pt x="18542" y="0"/>
                </a:moveTo>
                <a:lnTo>
                  <a:pt x="11303" y="4318"/>
                </a:lnTo>
                <a:lnTo>
                  <a:pt x="3175" y="14860"/>
                </a:lnTo>
                <a:lnTo>
                  <a:pt x="0" y="27179"/>
                </a:lnTo>
                <a:lnTo>
                  <a:pt x="1905" y="39497"/>
                </a:lnTo>
                <a:lnTo>
                  <a:pt x="9017" y="50420"/>
                </a:lnTo>
                <a:lnTo>
                  <a:pt x="18542" y="56770"/>
                </a:lnTo>
                <a:lnTo>
                  <a:pt x="18542" y="0"/>
                </a:lnTo>
                <a:close/>
                <a:moveTo>
                  <a:pt x="-8115300" y="4057650"/>
                </a:moveTo>
              </a:path>
            </a:pathLst>
          </a:custGeom>
          <a:solidFill>
            <a:srgbClr val="D2DFEF">
              <a:alpha val="100000"/>
            </a:srgbClr>
          </a:solidFill>
          <a:ln w="952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07" name="Freeform 107"/>
          <p:cNvSpPr/>
          <p:nvPr/>
        </p:nvSpPr>
        <p:spPr>
          <a:xfrm>
            <a:off x="12177776" y="2805177"/>
            <a:ext cx="18415" cy="56769"/>
          </a:xfrm>
          <a:custGeom>
            <a:avLst/>
            <a:gdLst/>
            <a:ahLst/>
            <a:cxnLst/>
            <a:rect l="0" t="0" r="0" b="0"/>
            <a:pathLst>
              <a:path w="18415" h="56769">
                <a:moveTo>
                  <a:pt x="18415" y="0"/>
                </a:moveTo>
                <a:lnTo>
                  <a:pt x="11176" y="4190"/>
                </a:lnTo>
                <a:lnTo>
                  <a:pt x="3047" y="14858"/>
                </a:lnTo>
                <a:lnTo>
                  <a:pt x="0" y="27051"/>
                </a:lnTo>
                <a:lnTo>
                  <a:pt x="1905" y="39370"/>
                </a:lnTo>
                <a:lnTo>
                  <a:pt x="8890" y="50419"/>
                </a:lnTo>
                <a:lnTo>
                  <a:pt x="18415" y="56769"/>
                </a:lnTo>
              </a:path>
            </a:pathLst>
          </a:custGeom>
          <a:noFill/>
          <a:ln w="9527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108" name="Picture 108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382375" y="3524250"/>
            <a:ext cx="95248" cy="95250"/>
          </a:xfrm>
          <a:prstGeom prst="rect">
            <a:avLst/>
          </a:prstGeom>
          <a:noFill/>
        </p:spPr>
      </p:pic>
      <p:pic>
        <p:nvPicPr>
          <p:cNvPr id="109" name="Picture 109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896725" y="5048250"/>
            <a:ext cx="114298" cy="114300"/>
          </a:xfrm>
          <a:prstGeom prst="rect">
            <a:avLst/>
          </a:prstGeom>
          <a:noFill/>
        </p:spPr>
      </p:pic>
      <p:pic>
        <p:nvPicPr>
          <p:cNvPr id="110" name="Picture 110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010775" y="3124200"/>
            <a:ext cx="123823" cy="114300"/>
          </a:xfrm>
          <a:prstGeom prst="rect">
            <a:avLst/>
          </a:prstGeom>
          <a:noFill/>
        </p:spPr>
      </p:pic>
      <p:sp>
        <p:nvSpPr>
          <p:cNvPr id="111" name="Freeform 111"/>
          <p:cNvSpPr/>
          <p:nvPr/>
        </p:nvSpPr>
        <p:spPr>
          <a:xfrm>
            <a:off x="9763125" y="3152775"/>
            <a:ext cx="37845" cy="28322"/>
          </a:xfrm>
          <a:custGeom>
            <a:avLst/>
            <a:gdLst/>
            <a:ahLst/>
            <a:cxnLst/>
            <a:rect l="0" t="0" r="0" b="0"/>
            <a:pathLst>
              <a:path w="37845" h="28322">
                <a:moveTo>
                  <a:pt x="19557" y="0"/>
                </a:moveTo>
                <a:lnTo>
                  <a:pt x="12318" y="890"/>
                </a:lnTo>
                <a:lnTo>
                  <a:pt x="5968" y="3810"/>
                </a:lnTo>
                <a:lnTo>
                  <a:pt x="1651" y="8383"/>
                </a:lnTo>
                <a:lnTo>
                  <a:pt x="0" y="13716"/>
                </a:lnTo>
                <a:lnTo>
                  <a:pt x="1143" y="19050"/>
                </a:lnTo>
                <a:lnTo>
                  <a:pt x="5080" y="23749"/>
                </a:lnTo>
                <a:lnTo>
                  <a:pt x="11176" y="27052"/>
                </a:lnTo>
                <a:lnTo>
                  <a:pt x="18288" y="28322"/>
                </a:lnTo>
                <a:lnTo>
                  <a:pt x="25400" y="27433"/>
                </a:lnTo>
                <a:lnTo>
                  <a:pt x="31877" y="24511"/>
                </a:lnTo>
                <a:lnTo>
                  <a:pt x="36194" y="19940"/>
                </a:lnTo>
                <a:lnTo>
                  <a:pt x="37845" y="14605"/>
                </a:lnTo>
                <a:lnTo>
                  <a:pt x="36703" y="9272"/>
                </a:lnTo>
                <a:lnTo>
                  <a:pt x="32766" y="4446"/>
                </a:lnTo>
                <a:lnTo>
                  <a:pt x="26543" y="1143"/>
                </a:lnTo>
                <a:lnTo>
                  <a:pt x="19557" y="0"/>
                </a:lnTo>
                <a:close/>
                <a:moveTo>
                  <a:pt x="-6057900" y="3705225"/>
                </a:moveTo>
              </a:path>
            </a:pathLst>
          </a:custGeom>
          <a:solidFill>
            <a:srgbClr val="D2DFEF">
              <a:alpha val="100000"/>
            </a:srgbClr>
          </a:solidFill>
          <a:ln w="952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12" name="Freeform 112"/>
          <p:cNvSpPr/>
          <p:nvPr/>
        </p:nvSpPr>
        <p:spPr>
          <a:xfrm>
            <a:off x="9767951" y="3157602"/>
            <a:ext cx="37718" cy="28194"/>
          </a:xfrm>
          <a:custGeom>
            <a:avLst/>
            <a:gdLst/>
            <a:ahLst/>
            <a:cxnLst/>
            <a:rect l="0" t="0" r="0" b="0"/>
            <a:pathLst>
              <a:path w="37718" h="28194">
                <a:moveTo>
                  <a:pt x="32639" y="4318"/>
                </a:moveTo>
                <a:lnTo>
                  <a:pt x="26542" y="1143"/>
                </a:lnTo>
                <a:lnTo>
                  <a:pt x="19430" y="0"/>
                </a:lnTo>
                <a:lnTo>
                  <a:pt x="12318" y="762"/>
                </a:lnTo>
                <a:lnTo>
                  <a:pt x="5968" y="3683"/>
                </a:lnTo>
                <a:lnTo>
                  <a:pt x="1524" y="8382"/>
                </a:lnTo>
                <a:lnTo>
                  <a:pt x="0" y="13589"/>
                </a:lnTo>
                <a:lnTo>
                  <a:pt x="1142" y="18922"/>
                </a:lnTo>
                <a:lnTo>
                  <a:pt x="5080" y="23748"/>
                </a:lnTo>
                <a:lnTo>
                  <a:pt x="11176" y="27051"/>
                </a:lnTo>
                <a:lnTo>
                  <a:pt x="18160" y="28194"/>
                </a:lnTo>
                <a:lnTo>
                  <a:pt x="25400" y="27432"/>
                </a:lnTo>
                <a:lnTo>
                  <a:pt x="31750" y="24510"/>
                </a:lnTo>
                <a:lnTo>
                  <a:pt x="36067" y="19812"/>
                </a:lnTo>
                <a:lnTo>
                  <a:pt x="37718" y="14477"/>
                </a:lnTo>
                <a:lnTo>
                  <a:pt x="36576" y="9144"/>
                </a:lnTo>
                <a:lnTo>
                  <a:pt x="32639" y="4318"/>
                </a:lnTo>
                <a:close/>
                <a:moveTo>
                  <a:pt x="-6071871" y="3700398"/>
                </a:move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113" name="Picture 113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810750" y="1857375"/>
            <a:ext cx="76198" cy="76200"/>
          </a:xfrm>
          <a:prstGeom prst="rect">
            <a:avLst/>
          </a:prstGeom>
          <a:noFill/>
        </p:spPr>
      </p:pic>
      <p:sp>
        <p:nvSpPr>
          <p:cNvPr id="114" name="Freeform 114"/>
          <p:cNvSpPr/>
          <p:nvPr/>
        </p:nvSpPr>
        <p:spPr>
          <a:xfrm>
            <a:off x="8753475" y="2476500"/>
            <a:ext cx="37592" cy="37720"/>
          </a:xfrm>
          <a:custGeom>
            <a:avLst/>
            <a:gdLst/>
            <a:ahLst/>
            <a:cxnLst/>
            <a:rect l="0" t="0" r="0" b="0"/>
            <a:pathLst>
              <a:path w="37592" h="37720">
                <a:moveTo>
                  <a:pt x="18542" y="0"/>
                </a:moveTo>
                <a:lnTo>
                  <a:pt x="11430" y="762"/>
                </a:lnTo>
                <a:lnTo>
                  <a:pt x="5333" y="4318"/>
                </a:lnTo>
                <a:lnTo>
                  <a:pt x="1269" y="10287"/>
                </a:lnTo>
                <a:lnTo>
                  <a:pt x="0" y="17272"/>
                </a:lnTo>
                <a:lnTo>
                  <a:pt x="1523" y="24511"/>
                </a:lnTo>
                <a:lnTo>
                  <a:pt x="5715" y="31116"/>
                </a:lnTo>
                <a:lnTo>
                  <a:pt x="12065" y="35815"/>
                </a:lnTo>
                <a:lnTo>
                  <a:pt x="19177" y="37720"/>
                </a:lnTo>
                <a:lnTo>
                  <a:pt x="26161" y="36958"/>
                </a:lnTo>
                <a:lnTo>
                  <a:pt x="32384" y="33402"/>
                </a:lnTo>
                <a:lnTo>
                  <a:pt x="36321" y="27433"/>
                </a:lnTo>
                <a:lnTo>
                  <a:pt x="37592" y="20447"/>
                </a:lnTo>
                <a:lnTo>
                  <a:pt x="36194" y="13209"/>
                </a:lnTo>
                <a:lnTo>
                  <a:pt x="31877" y="6604"/>
                </a:lnTo>
                <a:lnTo>
                  <a:pt x="25654" y="2033"/>
                </a:lnTo>
                <a:lnTo>
                  <a:pt x="18542" y="0"/>
                </a:lnTo>
                <a:close/>
                <a:moveTo>
                  <a:pt x="-4371975" y="4381500"/>
                </a:moveTo>
              </a:path>
            </a:pathLst>
          </a:custGeom>
          <a:solidFill>
            <a:srgbClr val="D2DFEF">
              <a:alpha val="100000"/>
            </a:srgbClr>
          </a:solidFill>
          <a:ln w="952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15" name="Freeform 115"/>
          <p:cNvSpPr/>
          <p:nvPr/>
        </p:nvSpPr>
        <p:spPr>
          <a:xfrm>
            <a:off x="8758301" y="2481327"/>
            <a:ext cx="37592" cy="37719"/>
          </a:xfrm>
          <a:custGeom>
            <a:avLst/>
            <a:gdLst/>
            <a:ahLst/>
            <a:cxnLst/>
            <a:rect l="0" t="0" r="0" b="0"/>
            <a:pathLst>
              <a:path w="37592" h="37719">
                <a:moveTo>
                  <a:pt x="31877" y="6603"/>
                </a:moveTo>
                <a:lnTo>
                  <a:pt x="25527" y="1904"/>
                </a:lnTo>
                <a:lnTo>
                  <a:pt x="18415" y="0"/>
                </a:lnTo>
                <a:lnTo>
                  <a:pt x="11430" y="762"/>
                </a:lnTo>
                <a:lnTo>
                  <a:pt x="5206" y="4318"/>
                </a:lnTo>
                <a:lnTo>
                  <a:pt x="1142" y="10287"/>
                </a:lnTo>
                <a:lnTo>
                  <a:pt x="0" y="17271"/>
                </a:lnTo>
                <a:lnTo>
                  <a:pt x="1396" y="24383"/>
                </a:lnTo>
                <a:lnTo>
                  <a:pt x="5715" y="30988"/>
                </a:lnTo>
                <a:lnTo>
                  <a:pt x="11938" y="35687"/>
                </a:lnTo>
                <a:lnTo>
                  <a:pt x="19050" y="37719"/>
                </a:lnTo>
                <a:lnTo>
                  <a:pt x="26162" y="36829"/>
                </a:lnTo>
                <a:lnTo>
                  <a:pt x="32257" y="33273"/>
                </a:lnTo>
                <a:lnTo>
                  <a:pt x="36321" y="27304"/>
                </a:lnTo>
                <a:lnTo>
                  <a:pt x="37592" y="20320"/>
                </a:lnTo>
                <a:lnTo>
                  <a:pt x="36067" y="13208"/>
                </a:lnTo>
                <a:lnTo>
                  <a:pt x="31877" y="6603"/>
                </a:lnTo>
                <a:close/>
                <a:moveTo>
                  <a:pt x="-4388231" y="4376673"/>
                </a:move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116" name="Picture 116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286875" y="3743325"/>
            <a:ext cx="85723" cy="76200"/>
          </a:xfrm>
          <a:prstGeom prst="rect">
            <a:avLst/>
          </a:prstGeom>
          <a:noFill/>
        </p:spPr>
      </p:pic>
      <p:sp>
        <p:nvSpPr>
          <p:cNvPr id="117" name="Freeform 117"/>
          <p:cNvSpPr/>
          <p:nvPr/>
        </p:nvSpPr>
        <p:spPr>
          <a:xfrm>
            <a:off x="10487025" y="4410075"/>
            <a:ext cx="37592" cy="37593"/>
          </a:xfrm>
          <a:custGeom>
            <a:avLst/>
            <a:gdLst/>
            <a:ahLst/>
            <a:cxnLst/>
            <a:rect l="0" t="0" r="0" b="0"/>
            <a:pathLst>
              <a:path w="37592" h="37593">
                <a:moveTo>
                  <a:pt x="19431" y="0"/>
                </a:moveTo>
                <a:lnTo>
                  <a:pt x="12318" y="1143"/>
                </a:lnTo>
                <a:lnTo>
                  <a:pt x="5968" y="5080"/>
                </a:lnTo>
                <a:lnTo>
                  <a:pt x="1651" y="11177"/>
                </a:lnTo>
                <a:lnTo>
                  <a:pt x="0" y="18161"/>
                </a:lnTo>
                <a:lnTo>
                  <a:pt x="1143" y="25274"/>
                </a:lnTo>
                <a:lnTo>
                  <a:pt x="5080" y="31624"/>
                </a:lnTo>
                <a:lnTo>
                  <a:pt x="11176" y="35942"/>
                </a:lnTo>
                <a:lnTo>
                  <a:pt x="18160" y="37593"/>
                </a:lnTo>
                <a:lnTo>
                  <a:pt x="25272" y="36449"/>
                </a:lnTo>
                <a:lnTo>
                  <a:pt x="31750" y="32512"/>
                </a:lnTo>
                <a:lnTo>
                  <a:pt x="35941" y="26417"/>
                </a:lnTo>
                <a:lnTo>
                  <a:pt x="37592" y="19431"/>
                </a:lnTo>
                <a:lnTo>
                  <a:pt x="36448" y="12320"/>
                </a:lnTo>
                <a:lnTo>
                  <a:pt x="32639" y="5970"/>
                </a:lnTo>
                <a:lnTo>
                  <a:pt x="26543" y="1652"/>
                </a:lnTo>
                <a:lnTo>
                  <a:pt x="19431" y="0"/>
                </a:lnTo>
                <a:close/>
                <a:moveTo>
                  <a:pt x="-8039100" y="2447925"/>
                </a:moveTo>
              </a:path>
            </a:pathLst>
          </a:custGeom>
          <a:solidFill>
            <a:srgbClr val="D2DFEF">
              <a:alpha val="100000"/>
            </a:srgbClr>
          </a:solidFill>
          <a:ln w="952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18" name="Freeform 118"/>
          <p:cNvSpPr/>
          <p:nvPr/>
        </p:nvSpPr>
        <p:spPr>
          <a:xfrm>
            <a:off x="10491851" y="4414902"/>
            <a:ext cx="37592" cy="37465"/>
          </a:xfrm>
          <a:custGeom>
            <a:avLst/>
            <a:gdLst/>
            <a:ahLst/>
            <a:cxnLst/>
            <a:rect l="0" t="0" r="0" b="0"/>
            <a:pathLst>
              <a:path w="37592" h="37465">
                <a:moveTo>
                  <a:pt x="32512" y="5841"/>
                </a:moveTo>
                <a:lnTo>
                  <a:pt x="26416" y="1523"/>
                </a:lnTo>
                <a:lnTo>
                  <a:pt x="19430" y="0"/>
                </a:lnTo>
                <a:lnTo>
                  <a:pt x="12192" y="1016"/>
                </a:lnTo>
                <a:lnTo>
                  <a:pt x="5842" y="4953"/>
                </a:lnTo>
                <a:lnTo>
                  <a:pt x="1524" y="11048"/>
                </a:lnTo>
                <a:lnTo>
                  <a:pt x="0" y="18034"/>
                </a:lnTo>
                <a:lnTo>
                  <a:pt x="1016" y="25272"/>
                </a:lnTo>
                <a:lnTo>
                  <a:pt x="4953" y="31622"/>
                </a:lnTo>
                <a:lnTo>
                  <a:pt x="11049" y="35941"/>
                </a:lnTo>
                <a:lnTo>
                  <a:pt x="18160" y="37465"/>
                </a:lnTo>
                <a:lnTo>
                  <a:pt x="25272" y="36322"/>
                </a:lnTo>
                <a:lnTo>
                  <a:pt x="31622" y="32512"/>
                </a:lnTo>
                <a:lnTo>
                  <a:pt x="35941" y="26416"/>
                </a:lnTo>
                <a:lnTo>
                  <a:pt x="37592" y="19303"/>
                </a:lnTo>
                <a:lnTo>
                  <a:pt x="36449" y="12191"/>
                </a:lnTo>
                <a:lnTo>
                  <a:pt x="32512" y="5841"/>
                </a:lnTo>
                <a:close/>
                <a:moveTo>
                  <a:pt x="-8054594" y="2443098"/>
                </a:move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119" name="Picture 119"/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744200" y="4629150"/>
            <a:ext cx="114298" cy="114300"/>
          </a:xfrm>
          <a:prstGeom prst="rect">
            <a:avLst/>
          </a:prstGeom>
          <a:noFill/>
        </p:spPr>
      </p:pic>
      <p:sp>
        <p:nvSpPr>
          <p:cNvPr id="120" name="Freeform 120"/>
          <p:cNvSpPr/>
          <p:nvPr/>
        </p:nvSpPr>
        <p:spPr>
          <a:xfrm>
            <a:off x="11468100" y="5581650"/>
            <a:ext cx="37592" cy="28271"/>
          </a:xfrm>
          <a:custGeom>
            <a:avLst/>
            <a:gdLst/>
            <a:ahLst/>
            <a:cxnLst/>
            <a:rect l="0" t="0" r="0" b="0"/>
            <a:pathLst>
              <a:path w="37592" h="28271">
                <a:moveTo>
                  <a:pt x="18415" y="0"/>
                </a:moveTo>
                <a:lnTo>
                  <a:pt x="11430" y="636"/>
                </a:lnTo>
                <a:lnTo>
                  <a:pt x="5206" y="3303"/>
                </a:lnTo>
                <a:lnTo>
                  <a:pt x="1269" y="7735"/>
                </a:lnTo>
                <a:lnTo>
                  <a:pt x="0" y="12967"/>
                </a:lnTo>
                <a:lnTo>
                  <a:pt x="1523" y="18365"/>
                </a:lnTo>
                <a:lnTo>
                  <a:pt x="5715" y="23305"/>
                </a:lnTo>
                <a:lnTo>
                  <a:pt x="11938" y="26798"/>
                </a:lnTo>
                <a:lnTo>
                  <a:pt x="19050" y="28271"/>
                </a:lnTo>
                <a:lnTo>
                  <a:pt x="26161" y="27687"/>
                </a:lnTo>
                <a:lnTo>
                  <a:pt x="32257" y="24969"/>
                </a:lnTo>
                <a:lnTo>
                  <a:pt x="36321" y="20549"/>
                </a:lnTo>
                <a:lnTo>
                  <a:pt x="37592" y="15317"/>
                </a:lnTo>
                <a:lnTo>
                  <a:pt x="36068" y="9906"/>
                </a:lnTo>
                <a:lnTo>
                  <a:pt x="31877" y="4953"/>
                </a:lnTo>
                <a:lnTo>
                  <a:pt x="25527" y="1525"/>
                </a:lnTo>
                <a:lnTo>
                  <a:pt x="18415" y="0"/>
                </a:lnTo>
                <a:close/>
                <a:moveTo>
                  <a:pt x="-10191750" y="1276350"/>
                </a:moveTo>
              </a:path>
            </a:pathLst>
          </a:custGeom>
          <a:solidFill>
            <a:srgbClr val="D2DFEF">
              <a:alpha val="100000"/>
            </a:srgbClr>
          </a:solidFill>
          <a:ln w="952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21" name="Freeform 121"/>
          <p:cNvSpPr/>
          <p:nvPr/>
        </p:nvSpPr>
        <p:spPr>
          <a:xfrm>
            <a:off x="11472926" y="5586476"/>
            <a:ext cx="37592" cy="28220"/>
          </a:xfrm>
          <a:custGeom>
            <a:avLst/>
            <a:gdLst/>
            <a:ahLst/>
            <a:cxnLst/>
            <a:rect l="0" t="0" r="0" b="0"/>
            <a:pathLst>
              <a:path w="37592" h="28220">
                <a:moveTo>
                  <a:pt x="31877" y="4915"/>
                </a:moveTo>
                <a:lnTo>
                  <a:pt x="25527" y="1397"/>
                </a:lnTo>
                <a:lnTo>
                  <a:pt x="18415" y="0"/>
                </a:lnTo>
                <a:lnTo>
                  <a:pt x="11303" y="508"/>
                </a:lnTo>
                <a:lnTo>
                  <a:pt x="5206" y="3252"/>
                </a:lnTo>
                <a:lnTo>
                  <a:pt x="1142" y="7671"/>
                </a:lnTo>
                <a:lnTo>
                  <a:pt x="0" y="12904"/>
                </a:lnTo>
                <a:lnTo>
                  <a:pt x="1396" y="18301"/>
                </a:lnTo>
                <a:lnTo>
                  <a:pt x="5588" y="23241"/>
                </a:lnTo>
                <a:lnTo>
                  <a:pt x="11938" y="26734"/>
                </a:lnTo>
                <a:lnTo>
                  <a:pt x="19050" y="28220"/>
                </a:lnTo>
                <a:lnTo>
                  <a:pt x="26034" y="27623"/>
                </a:lnTo>
                <a:lnTo>
                  <a:pt x="32257" y="24905"/>
                </a:lnTo>
                <a:lnTo>
                  <a:pt x="36194" y="20486"/>
                </a:lnTo>
                <a:lnTo>
                  <a:pt x="37592" y="15253"/>
                </a:lnTo>
                <a:lnTo>
                  <a:pt x="36067" y="9843"/>
                </a:lnTo>
                <a:lnTo>
                  <a:pt x="31877" y="4915"/>
                </a:lnTo>
                <a:close/>
                <a:moveTo>
                  <a:pt x="-10206317" y="1271524"/>
                </a:move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122" name="Picture 122"/>
          <p:cNvPicPr>
            <a:picLocks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649075" y="5486400"/>
            <a:ext cx="114298" cy="114300"/>
          </a:xfrm>
          <a:prstGeom prst="rect">
            <a:avLst/>
          </a:prstGeom>
          <a:noFill/>
        </p:spPr>
      </p:pic>
      <p:sp>
        <p:nvSpPr>
          <p:cNvPr id="123" name="Freeform 123"/>
          <p:cNvSpPr/>
          <p:nvPr/>
        </p:nvSpPr>
        <p:spPr>
          <a:xfrm>
            <a:off x="11134725" y="2838450"/>
            <a:ext cx="1019175" cy="361697"/>
          </a:xfrm>
          <a:custGeom>
            <a:avLst/>
            <a:gdLst/>
            <a:ahLst/>
            <a:cxnLst/>
            <a:rect l="0" t="0" r="0" b="0"/>
            <a:pathLst>
              <a:path w="1019175" h="361697">
                <a:moveTo>
                  <a:pt x="1019175" y="0"/>
                </a:moveTo>
                <a:lnTo>
                  <a:pt x="0" y="361697"/>
                </a:lnTo>
                <a:lnTo>
                  <a:pt x="1019175" y="0"/>
                </a:lnTo>
                <a:close/>
                <a:moveTo>
                  <a:pt x="-7115175" y="4019550"/>
                </a:moveTo>
              </a:path>
            </a:pathLst>
          </a:custGeom>
          <a:solidFill>
            <a:srgbClr val="BDD5EF">
              <a:alpha val="100000"/>
            </a:srgbClr>
          </a:solidFill>
          <a:ln w="952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24" name="Freeform 124"/>
          <p:cNvSpPr/>
          <p:nvPr/>
        </p:nvSpPr>
        <p:spPr>
          <a:xfrm>
            <a:off x="11139551" y="2843277"/>
            <a:ext cx="1019047" cy="361569"/>
          </a:xfrm>
          <a:custGeom>
            <a:avLst/>
            <a:gdLst/>
            <a:ahLst/>
            <a:cxnLst/>
            <a:rect l="0" t="0" r="0" b="0"/>
            <a:pathLst>
              <a:path w="1019047" h="361569">
                <a:moveTo>
                  <a:pt x="1019047" y="0"/>
                </a:moveTo>
                <a:lnTo>
                  <a:pt x="0" y="361569"/>
                </a:lnTo>
                <a:lnTo>
                  <a:pt x="1019047" y="0"/>
                </a:lnTo>
                <a:close/>
                <a:moveTo>
                  <a:pt x="-7124828" y="4014723"/>
                </a:moveTo>
              </a:path>
            </a:pathLst>
          </a:custGeom>
          <a:noFill/>
          <a:ln w="9514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25" name="Freeform 125"/>
          <p:cNvSpPr/>
          <p:nvPr/>
        </p:nvSpPr>
        <p:spPr>
          <a:xfrm>
            <a:off x="11139551" y="2843277"/>
            <a:ext cx="1019047" cy="361569"/>
          </a:xfrm>
          <a:custGeom>
            <a:avLst/>
            <a:gdLst/>
            <a:ahLst/>
            <a:cxnLst/>
            <a:rect l="0" t="0" r="0" b="0"/>
            <a:pathLst>
              <a:path w="1019047" h="361569">
                <a:moveTo>
                  <a:pt x="1019047" y="0"/>
                </a:moveTo>
                <a:lnTo>
                  <a:pt x="0" y="361569"/>
                </a:lnTo>
              </a:path>
            </a:pathLst>
          </a:custGeom>
          <a:noFill/>
          <a:ln w="3175" cap="flat" cmpd="sng">
            <a:solidFill>
              <a:srgbClr val="F1F1F1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26" name="Freeform 126"/>
          <p:cNvSpPr/>
          <p:nvPr/>
        </p:nvSpPr>
        <p:spPr>
          <a:xfrm>
            <a:off x="11468100" y="3619500"/>
            <a:ext cx="723392" cy="771399"/>
          </a:xfrm>
          <a:custGeom>
            <a:avLst/>
            <a:gdLst/>
            <a:ahLst/>
            <a:cxnLst/>
            <a:rect l="0" t="0" r="0" b="0"/>
            <a:pathLst>
              <a:path w="723392" h="771399">
                <a:moveTo>
                  <a:pt x="0" y="0"/>
                </a:moveTo>
                <a:lnTo>
                  <a:pt x="723392" y="771399"/>
                </a:lnTo>
                <a:lnTo>
                  <a:pt x="0" y="0"/>
                </a:lnTo>
                <a:close/>
                <a:moveTo>
                  <a:pt x="-8229600" y="3238500"/>
                </a:moveTo>
              </a:path>
            </a:pathLst>
          </a:custGeom>
          <a:solidFill>
            <a:srgbClr val="BDD5EF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27" name="Freeform 127"/>
          <p:cNvSpPr/>
          <p:nvPr/>
        </p:nvSpPr>
        <p:spPr>
          <a:xfrm>
            <a:off x="11472926" y="3624327"/>
            <a:ext cx="723265" cy="771397"/>
          </a:xfrm>
          <a:custGeom>
            <a:avLst/>
            <a:gdLst/>
            <a:ahLst/>
            <a:cxnLst/>
            <a:rect l="0" t="0" r="0" b="0"/>
            <a:pathLst>
              <a:path w="723265" h="771397">
                <a:moveTo>
                  <a:pt x="0" y="0"/>
                </a:moveTo>
                <a:lnTo>
                  <a:pt x="723265" y="771397"/>
                </a:ln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28" name="Freeform 128"/>
          <p:cNvSpPr/>
          <p:nvPr/>
        </p:nvSpPr>
        <p:spPr>
          <a:xfrm>
            <a:off x="11472926" y="3624327"/>
            <a:ext cx="723265" cy="771397"/>
          </a:xfrm>
          <a:custGeom>
            <a:avLst/>
            <a:gdLst/>
            <a:ahLst/>
            <a:cxnLst/>
            <a:rect l="0" t="0" r="0" b="0"/>
            <a:pathLst>
              <a:path w="723265" h="771397">
                <a:moveTo>
                  <a:pt x="723265" y="771397"/>
                </a:moveTo>
                <a:lnTo>
                  <a:pt x="0" y="0"/>
                </a:ln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29" name="Freeform 129"/>
          <p:cNvSpPr/>
          <p:nvPr/>
        </p:nvSpPr>
        <p:spPr>
          <a:xfrm>
            <a:off x="11472926" y="3624327"/>
            <a:ext cx="723265" cy="771397"/>
          </a:xfrm>
          <a:custGeom>
            <a:avLst/>
            <a:gdLst/>
            <a:ahLst/>
            <a:cxnLst/>
            <a:rect l="0" t="0" r="0" b="0"/>
            <a:pathLst>
              <a:path w="723265" h="771397">
                <a:moveTo>
                  <a:pt x="0" y="0"/>
                </a:moveTo>
                <a:lnTo>
                  <a:pt x="723265" y="771397"/>
                </a:lnTo>
              </a:path>
            </a:pathLst>
          </a:custGeom>
          <a:noFill/>
          <a:ln w="3175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30" name="Freeform 130"/>
          <p:cNvSpPr/>
          <p:nvPr/>
        </p:nvSpPr>
        <p:spPr>
          <a:xfrm>
            <a:off x="10848975" y="4705350"/>
            <a:ext cx="1047622" cy="389890"/>
          </a:xfrm>
          <a:custGeom>
            <a:avLst/>
            <a:gdLst/>
            <a:ahLst/>
            <a:cxnLst/>
            <a:rect l="0" t="0" r="0" b="0"/>
            <a:pathLst>
              <a:path w="1047622" h="389890">
                <a:moveTo>
                  <a:pt x="0" y="0"/>
                </a:moveTo>
                <a:lnTo>
                  <a:pt x="1047622" y="389890"/>
                </a:lnTo>
                <a:lnTo>
                  <a:pt x="0" y="0"/>
                </a:lnTo>
                <a:close/>
                <a:moveTo>
                  <a:pt x="-8696325" y="2152650"/>
                </a:moveTo>
              </a:path>
            </a:pathLst>
          </a:custGeom>
          <a:solidFill>
            <a:srgbClr val="BDD5EF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31" name="Freeform 131"/>
          <p:cNvSpPr/>
          <p:nvPr/>
        </p:nvSpPr>
        <p:spPr>
          <a:xfrm>
            <a:off x="10853801" y="4710177"/>
            <a:ext cx="1047495" cy="389890"/>
          </a:xfrm>
          <a:custGeom>
            <a:avLst/>
            <a:gdLst/>
            <a:ahLst/>
            <a:cxnLst/>
            <a:rect l="0" t="0" r="0" b="0"/>
            <a:pathLst>
              <a:path w="1047495" h="389890">
                <a:moveTo>
                  <a:pt x="0" y="0"/>
                </a:moveTo>
                <a:lnTo>
                  <a:pt x="1047495" y="389890"/>
                </a:lnTo>
                <a:lnTo>
                  <a:pt x="0" y="0"/>
                </a:lnTo>
                <a:close/>
                <a:moveTo>
                  <a:pt x="-8705978" y="2147823"/>
                </a:moveTo>
              </a:path>
            </a:pathLst>
          </a:custGeom>
          <a:noFill/>
          <a:ln w="9514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32" name="Freeform 132"/>
          <p:cNvSpPr/>
          <p:nvPr/>
        </p:nvSpPr>
        <p:spPr>
          <a:xfrm>
            <a:off x="10853801" y="4710177"/>
            <a:ext cx="1047495" cy="389890"/>
          </a:xfrm>
          <a:custGeom>
            <a:avLst/>
            <a:gdLst/>
            <a:ahLst/>
            <a:cxnLst/>
            <a:rect l="0" t="0" r="0" b="0"/>
            <a:pathLst>
              <a:path w="1047495" h="389890">
                <a:moveTo>
                  <a:pt x="0" y="0"/>
                </a:moveTo>
                <a:lnTo>
                  <a:pt x="1047495" y="389890"/>
                </a:lnTo>
              </a:path>
            </a:pathLst>
          </a:custGeom>
          <a:noFill/>
          <a:ln w="3175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33" name="Freeform 133"/>
          <p:cNvSpPr/>
          <p:nvPr/>
        </p:nvSpPr>
        <p:spPr>
          <a:xfrm>
            <a:off x="8777351" y="1566927"/>
            <a:ext cx="2352420" cy="932941"/>
          </a:xfrm>
          <a:custGeom>
            <a:avLst/>
            <a:gdLst/>
            <a:ahLst/>
            <a:cxnLst/>
            <a:rect l="0" t="0" r="0" b="0"/>
            <a:pathLst>
              <a:path w="2352420" h="932941">
                <a:moveTo>
                  <a:pt x="0" y="932941"/>
                </a:moveTo>
                <a:lnTo>
                  <a:pt x="2352420" y="0"/>
                </a:lnTo>
              </a:path>
            </a:pathLst>
          </a:custGeom>
          <a:noFill/>
          <a:ln w="3175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34" name="Freeform 134"/>
          <p:cNvSpPr/>
          <p:nvPr/>
        </p:nvSpPr>
        <p:spPr>
          <a:xfrm>
            <a:off x="9791700" y="3162300"/>
            <a:ext cx="228345" cy="19050"/>
          </a:xfrm>
          <a:custGeom>
            <a:avLst/>
            <a:gdLst/>
            <a:ahLst/>
            <a:cxnLst/>
            <a:rect l="0" t="0" r="0" b="0"/>
            <a:pathLst>
              <a:path w="228345" h="19050">
                <a:moveTo>
                  <a:pt x="0" y="0"/>
                </a:moveTo>
                <a:lnTo>
                  <a:pt x="228345" y="19050"/>
                </a:lnTo>
                <a:lnTo>
                  <a:pt x="0" y="0"/>
                </a:lnTo>
                <a:close/>
                <a:moveTo>
                  <a:pt x="-6096000" y="3695700"/>
                </a:moveTo>
              </a:path>
            </a:pathLst>
          </a:custGeom>
          <a:solidFill>
            <a:srgbClr val="BDD5EF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35" name="Freeform 135"/>
          <p:cNvSpPr/>
          <p:nvPr/>
        </p:nvSpPr>
        <p:spPr>
          <a:xfrm>
            <a:off x="9796526" y="3167127"/>
            <a:ext cx="228218" cy="18922"/>
          </a:xfrm>
          <a:custGeom>
            <a:avLst/>
            <a:gdLst/>
            <a:ahLst/>
            <a:cxnLst/>
            <a:rect l="0" t="0" r="0" b="0"/>
            <a:pathLst>
              <a:path w="228218" h="18922">
                <a:moveTo>
                  <a:pt x="228218" y="18922"/>
                </a:moveTo>
                <a:lnTo>
                  <a:pt x="0" y="0"/>
                </a:lnTo>
                <a:lnTo>
                  <a:pt x="228218" y="18922"/>
                </a:lnTo>
                <a:close/>
                <a:moveTo>
                  <a:pt x="-6124575" y="3690873"/>
                </a:moveTo>
              </a:path>
            </a:pathLst>
          </a:custGeom>
          <a:noFill/>
          <a:ln w="9513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36" name="Freeform 136"/>
          <p:cNvSpPr/>
          <p:nvPr/>
        </p:nvSpPr>
        <p:spPr>
          <a:xfrm>
            <a:off x="10125075" y="3181350"/>
            <a:ext cx="999617" cy="28195"/>
          </a:xfrm>
          <a:custGeom>
            <a:avLst/>
            <a:gdLst/>
            <a:ahLst/>
            <a:cxnLst/>
            <a:rect l="0" t="0" r="0" b="0"/>
            <a:pathLst>
              <a:path w="999617" h="28195">
                <a:moveTo>
                  <a:pt x="0" y="0"/>
                </a:moveTo>
                <a:lnTo>
                  <a:pt x="999617" y="28195"/>
                </a:lnTo>
                <a:lnTo>
                  <a:pt x="0" y="0"/>
                </a:lnTo>
                <a:close/>
                <a:moveTo>
                  <a:pt x="-6448425" y="3676650"/>
                </a:moveTo>
              </a:path>
            </a:pathLst>
          </a:custGeom>
          <a:solidFill>
            <a:srgbClr val="BDD5EF">
              <a:alpha val="100000"/>
            </a:srgbClr>
          </a:solidFill>
          <a:ln w="9513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37" name="Freeform 137"/>
          <p:cNvSpPr/>
          <p:nvPr/>
        </p:nvSpPr>
        <p:spPr>
          <a:xfrm>
            <a:off x="10129901" y="3186177"/>
            <a:ext cx="999617" cy="28194"/>
          </a:xfrm>
          <a:custGeom>
            <a:avLst/>
            <a:gdLst/>
            <a:ahLst/>
            <a:cxnLst/>
            <a:rect l="0" t="0" r="0" b="0"/>
            <a:pathLst>
              <a:path w="999617" h="28194">
                <a:moveTo>
                  <a:pt x="999617" y="28194"/>
                </a:moveTo>
                <a:lnTo>
                  <a:pt x="0" y="0"/>
                </a:lnTo>
                <a:lnTo>
                  <a:pt x="999617" y="28194"/>
                </a:lnTo>
                <a:close/>
                <a:moveTo>
                  <a:pt x="-6486272" y="3671823"/>
                </a:moveTo>
              </a:path>
            </a:pathLst>
          </a:custGeom>
          <a:noFill/>
          <a:ln w="9513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38" name="Freeform 138"/>
          <p:cNvSpPr/>
          <p:nvPr/>
        </p:nvSpPr>
        <p:spPr>
          <a:xfrm>
            <a:off x="10129901" y="3186177"/>
            <a:ext cx="999617" cy="28194"/>
          </a:xfrm>
          <a:custGeom>
            <a:avLst/>
            <a:gdLst/>
            <a:ahLst/>
            <a:cxnLst/>
            <a:rect l="0" t="0" r="0" b="0"/>
            <a:pathLst>
              <a:path w="999617" h="28194">
                <a:moveTo>
                  <a:pt x="999617" y="28194"/>
                </a:move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F1F1F1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39" name="Freeform 139"/>
          <p:cNvSpPr/>
          <p:nvPr/>
        </p:nvSpPr>
        <p:spPr>
          <a:xfrm>
            <a:off x="10115550" y="3219450"/>
            <a:ext cx="647572" cy="1428496"/>
          </a:xfrm>
          <a:custGeom>
            <a:avLst/>
            <a:gdLst/>
            <a:ahLst/>
            <a:cxnLst/>
            <a:rect l="0" t="0" r="0" b="0"/>
            <a:pathLst>
              <a:path w="647572" h="1428496">
                <a:moveTo>
                  <a:pt x="0" y="0"/>
                </a:moveTo>
                <a:lnTo>
                  <a:pt x="647572" y="1428496"/>
                </a:lnTo>
                <a:lnTo>
                  <a:pt x="0" y="0"/>
                </a:lnTo>
                <a:close/>
                <a:moveTo>
                  <a:pt x="-6477000" y="3638550"/>
                </a:moveTo>
              </a:path>
            </a:pathLst>
          </a:custGeom>
          <a:solidFill>
            <a:srgbClr val="BDD5EF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40" name="Freeform 140"/>
          <p:cNvSpPr/>
          <p:nvPr/>
        </p:nvSpPr>
        <p:spPr>
          <a:xfrm>
            <a:off x="10120376" y="3224277"/>
            <a:ext cx="647572" cy="1428369"/>
          </a:xfrm>
          <a:custGeom>
            <a:avLst/>
            <a:gdLst/>
            <a:ahLst/>
            <a:cxnLst/>
            <a:rect l="0" t="0" r="0" b="0"/>
            <a:pathLst>
              <a:path w="647572" h="1428369">
                <a:moveTo>
                  <a:pt x="0" y="0"/>
                </a:moveTo>
                <a:lnTo>
                  <a:pt x="647572" y="1428369"/>
                </a:lnTo>
                <a:lnTo>
                  <a:pt x="0" y="0"/>
                </a:lnTo>
                <a:close/>
                <a:moveTo>
                  <a:pt x="-6486653" y="3633723"/>
                </a:moveTo>
              </a:path>
            </a:pathLst>
          </a:custGeom>
          <a:noFill/>
          <a:ln w="9526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41" name="Freeform 141"/>
          <p:cNvSpPr/>
          <p:nvPr/>
        </p:nvSpPr>
        <p:spPr>
          <a:xfrm>
            <a:off x="10120376" y="3224277"/>
            <a:ext cx="647572" cy="1428369"/>
          </a:xfrm>
          <a:custGeom>
            <a:avLst/>
            <a:gdLst/>
            <a:ahLst/>
            <a:cxnLst/>
            <a:rect l="0" t="0" r="0" b="0"/>
            <a:pathLst>
              <a:path w="647572" h="1428369">
                <a:moveTo>
                  <a:pt x="0" y="0"/>
                </a:moveTo>
                <a:lnTo>
                  <a:pt x="647572" y="1428369"/>
                </a:lnTo>
              </a:path>
            </a:pathLst>
          </a:custGeom>
          <a:noFill/>
          <a:ln w="3175" cap="flat" cmpd="sng">
            <a:solidFill>
              <a:srgbClr val="F1F1F1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42" name="Freeform 142"/>
          <p:cNvSpPr/>
          <p:nvPr/>
        </p:nvSpPr>
        <p:spPr>
          <a:xfrm>
            <a:off x="10120376" y="3205227"/>
            <a:ext cx="1256918" cy="370839"/>
          </a:xfrm>
          <a:custGeom>
            <a:avLst/>
            <a:gdLst/>
            <a:ahLst/>
            <a:cxnLst/>
            <a:rect l="0" t="0" r="0" b="0"/>
            <a:pathLst>
              <a:path w="1256918" h="370839">
                <a:moveTo>
                  <a:pt x="1256918" y="370839"/>
                </a:move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43" name="Freeform 143"/>
          <p:cNvSpPr/>
          <p:nvPr/>
        </p:nvSpPr>
        <p:spPr>
          <a:xfrm>
            <a:off x="10839450" y="3619500"/>
            <a:ext cx="561593" cy="1028446"/>
          </a:xfrm>
          <a:custGeom>
            <a:avLst/>
            <a:gdLst/>
            <a:ahLst/>
            <a:cxnLst/>
            <a:rect l="0" t="0" r="0" b="0"/>
            <a:pathLst>
              <a:path w="561593" h="1028446">
                <a:moveTo>
                  <a:pt x="561593" y="0"/>
                </a:moveTo>
                <a:lnTo>
                  <a:pt x="0" y="1028446"/>
                </a:lnTo>
                <a:lnTo>
                  <a:pt x="561593" y="0"/>
                </a:lnTo>
                <a:close/>
                <a:moveTo>
                  <a:pt x="-7600950" y="3238500"/>
                </a:moveTo>
              </a:path>
            </a:pathLst>
          </a:custGeom>
          <a:solidFill>
            <a:srgbClr val="BDD5EF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44" name="Freeform 144"/>
          <p:cNvSpPr/>
          <p:nvPr/>
        </p:nvSpPr>
        <p:spPr>
          <a:xfrm>
            <a:off x="10844276" y="3624327"/>
            <a:ext cx="561593" cy="1028446"/>
          </a:xfrm>
          <a:custGeom>
            <a:avLst/>
            <a:gdLst/>
            <a:ahLst/>
            <a:cxnLst/>
            <a:rect l="0" t="0" r="0" b="0"/>
            <a:pathLst>
              <a:path w="561593" h="1028446">
                <a:moveTo>
                  <a:pt x="561593" y="0"/>
                </a:moveTo>
                <a:lnTo>
                  <a:pt x="0" y="1028446"/>
                </a:lnTo>
                <a:lnTo>
                  <a:pt x="561593" y="0"/>
                </a:lnTo>
                <a:close/>
                <a:moveTo>
                  <a:pt x="-7610603" y="3233673"/>
                </a:moveTo>
              </a:path>
            </a:pathLst>
          </a:custGeom>
          <a:noFill/>
          <a:ln w="9525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45" name="Freeform 145"/>
          <p:cNvSpPr/>
          <p:nvPr/>
        </p:nvSpPr>
        <p:spPr>
          <a:xfrm>
            <a:off x="10844276" y="3624327"/>
            <a:ext cx="561593" cy="1028446"/>
          </a:xfrm>
          <a:custGeom>
            <a:avLst/>
            <a:gdLst/>
            <a:ahLst/>
            <a:cxnLst/>
            <a:rect l="0" t="0" r="0" b="0"/>
            <a:pathLst>
              <a:path w="561593" h="1028446">
                <a:moveTo>
                  <a:pt x="561593" y="0"/>
                </a:moveTo>
                <a:lnTo>
                  <a:pt x="0" y="1028446"/>
                </a:lnTo>
              </a:path>
            </a:pathLst>
          </a:custGeom>
          <a:noFill/>
          <a:ln w="3175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46" name="Freeform 146"/>
          <p:cNvSpPr/>
          <p:nvPr/>
        </p:nvSpPr>
        <p:spPr>
          <a:xfrm>
            <a:off x="11430000" y="3571875"/>
            <a:ext cx="523620" cy="1475995"/>
          </a:xfrm>
          <a:custGeom>
            <a:avLst/>
            <a:gdLst/>
            <a:ahLst/>
            <a:cxnLst/>
            <a:rect l="0" t="0" r="0" b="0"/>
            <a:pathLst>
              <a:path w="523620" h="1475995">
                <a:moveTo>
                  <a:pt x="0" y="0"/>
                </a:moveTo>
                <a:lnTo>
                  <a:pt x="523620" y="1475995"/>
                </a:lnTo>
                <a:lnTo>
                  <a:pt x="0" y="0"/>
                </a:lnTo>
                <a:close/>
                <a:moveTo>
                  <a:pt x="-8143875" y="3286125"/>
                </a:moveTo>
              </a:path>
            </a:pathLst>
          </a:custGeom>
          <a:solidFill>
            <a:srgbClr val="BDD5EF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47" name="Freeform 147"/>
          <p:cNvSpPr/>
          <p:nvPr/>
        </p:nvSpPr>
        <p:spPr>
          <a:xfrm>
            <a:off x="11434826" y="3576702"/>
            <a:ext cx="523493" cy="1475994"/>
          </a:xfrm>
          <a:custGeom>
            <a:avLst/>
            <a:gdLst/>
            <a:ahLst/>
            <a:cxnLst/>
            <a:rect l="0" t="0" r="0" b="0"/>
            <a:pathLst>
              <a:path w="523493" h="1475994">
                <a:moveTo>
                  <a:pt x="523493" y="1475994"/>
                </a:moveTo>
                <a:lnTo>
                  <a:pt x="0" y="0"/>
                </a:lnTo>
                <a:lnTo>
                  <a:pt x="523493" y="1475994"/>
                </a:lnTo>
                <a:close/>
                <a:moveTo>
                  <a:pt x="-9629522" y="3281298"/>
                </a:moveTo>
              </a:path>
            </a:pathLst>
          </a:custGeom>
          <a:noFill/>
          <a:ln w="9527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48" name="Freeform 148"/>
          <p:cNvSpPr/>
          <p:nvPr/>
        </p:nvSpPr>
        <p:spPr>
          <a:xfrm>
            <a:off x="11434826" y="3576702"/>
            <a:ext cx="523493" cy="1475994"/>
          </a:xfrm>
          <a:custGeom>
            <a:avLst/>
            <a:gdLst/>
            <a:ahLst/>
            <a:cxnLst/>
            <a:rect l="0" t="0" r="0" b="0"/>
            <a:pathLst>
              <a:path w="523493" h="1475994">
                <a:moveTo>
                  <a:pt x="523493" y="1475994"/>
                </a:moveTo>
                <a:lnTo>
                  <a:pt x="0" y="0"/>
                </a:lnTo>
              </a:path>
            </a:pathLst>
          </a:custGeom>
          <a:noFill/>
          <a:ln w="3175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49" name="Freeform 149"/>
          <p:cNvSpPr/>
          <p:nvPr/>
        </p:nvSpPr>
        <p:spPr>
          <a:xfrm>
            <a:off x="11744325" y="5200650"/>
            <a:ext cx="447293" cy="304292"/>
          </a:xfrm>
          <a:custGeom>
            <a:avLst/>
            <a:gdLst/>
            <a:ahLst/>
            <a:cxnLst/>
            <a:rect l="0" t="0" r="0" b="0"/>
            <a:pathLst>
              <a:path w="447293" h="304292">
                <a:moveTo>
                  <a:pt x="447293" y="0"/>
                </a:moveTo>
                <a:lnTo>
                  <a:pt x="0" y="304292"/>
                </a:lnTo>
                <a:lnTo>
                  <a:pt x="447293" y="0"/>
                </a:lnTo>
                <a:close/>
                <a:moveTo>
                  <a:pt x="-10086975" y="1657350"/>
                </a:moveTo>
              </a:path>
            </a:pathLst>
          </a:custGeom>
          <a:solidFill>
            <a:srgbClr val="BDD5EF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50" name="Freeform 150"/>
          <p:cNvSpPr/>
          <p:nvPr/>
        </p:nvSpPr>
        <p:spPr>
          <a:xfrm>
            <a:off x="11749151" y="5205477"/>
            <a:ext cx="447167" cy="304165"/>
          </a:xfrm>
          <a:custGeom>
            <a:avLst/>
            <a:gdLst/>
            <a:ahLst/>
            <a:cxnLst/>
            <a:rect l="0" t="0" r="0" b="0"/>
            <a:pathLst>
              <a:path w="447167" h="304165">
                <a:moveTo>
                  <a:pt x="447167" y="0"/>
                </a:moveTo>
                <a:lnTo>
                  <a:pt x="0" y="304165"/>
                </a:lnTo>
                <a:lnTo>
                  <a:pt x="447167" y="0"/>
                </a:ln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51" name="Freeform 151"/>
          <p:cNvSpPr/>
          <p:nvPr/>
        </p:nvSpPr>
        <p:spPr>
          <a:xfrm>
            <a:off x="11749151" y="5205477"/>
            <a:ext cx="447167" cy="304165"/>
          </a:xfrm>
          <a:custGeom>
            <a:avLst/>
            <a:gdLst/>
            <a:ahLst/>
            <a:cxnLst/>
            <a:rect l="0" t="0" r="0" b="0"/>
            <a:pathLst>
              <a:path w="447167" h="304165">
                <a:moveTo>
                  <a:pt x="447167" y="0"/>
                </a:moveTo>
                <a:lnTo>
                  <a:pt x="0" y="304165"/>
                </a:ln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52" name="Freeform 152"/>
          <p:cNvSpPr/>
          <p:nvPr/>
        </p:nvSpPr>
        <p:spPr>
          <a:xfrm>
            <a:off x="11487150" y="5543550"/>
            <a:ext cx="190500" cy="47460"/>
          </a:xfrm>
          <a:custGeom>
            <a:avLst/>
            <a:gdLst/>
            <a:ahLst/>
            <a:cxnLst/>
            <a:rect l="0" t="0" r="0" b="0"/>
            <a:pathLst>
              <a:path w="190500" h="47460">
                <a:moveTo>
                  <a:pt x="190500" y="0"/>
                </a:moveTo>
                <a:lnTo>
                  <a:pt x="0" y="47460"/>
                </a:lnTo>
                <a:lnTo>
                  <a:pt x="190500" y="0"/>
                </a:lnTo>
                <a:close/>
                <a:moveTo>
                  <a:pt x="-10172700" y="1314450"/>
                </a:moveTo>
              </a:path>
            </a:pathLst>
          </a:custGeom>
          <a:solidFill>
            <a:srgbClr val="BDD5EF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53" name="Freeform 153"/>
          <p:cNvSpPr/>
          <p:nvPr/>
        </p:nvSpPr>
        <p:spPr>
          <a:xfrm>
            <a:off x="11491976" y="5548376"/>
            <a:ext cx="189865" cy="47397"/>
          </a:xfrm>
          <a:custGeom>
            <a:avLst/>
            <a:gdLst/>
            <a:ahLst/>
            <a:cxnLst/>
            <a:rect l="0" t="0" r="0" b="0"/>
            <a:pathLst>
              <a:path w="189865" h="47397">
                <a:moveTo>
                  <a:pt x="189865" y="0"/>
                </a:moveTo>
                <a:lnTo>
                  <a:pt x="0" y="47397"/>
                </a:lnTo>
                <a:lnTo>
                  <a:pt x="189865" y="0"/>
                </a:lnTo>
                <a:close/>
                <a:moveTo>
                  <a:pt x="-10182352" y="1309624"/>
                </a:move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54" name="Freeform 154"/>
          <p:cNvSpPr/>
          <p:nvPr/>
        </p:nvSpPr>
        <p:spPr>
          <a:xfrm>
            <a:off x="11491976" y="5548376"/>
            <a:ext cx="189865" cy="47397"/>
          </a:xfrm>
          <a:custGeom>
            <a:avLst/>
            <a:gdLst/>
            <a:ahLst/>
            <a:cxnLst/>
            <a:rect l="0" t="0" r="0" b="0"/>
            <a:pathLst>
              <a:path w="189865" h="47397">
                <a:moveTo>
                  <a:pt x="189865" y="0"/>
                </a:moveTo>
                <a:lnTo>
                  <a:pt x="0" y="47397"/>
                </a:ln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55" name="Freeform 155"/>
          <p:cNvSpPr/>
          <p:nvPr/>
        </p:nvSpPr>
        <p:spPr>
          <a:xfrm>
            <a:off x="11434826" y="3614802"/>
            <a:ext cx="56895" cy="1981085"/>
          </a:xfrm>
          <a:custGeom>
            <a:avLst/>
            <a:gdLst/>
            <a:ahLst/>
            <a:cxnLst/>
            <a:rect l="0" t="0" r="0" b="0"/>
            <a:pathLst>
              <a:path w="56895" h="1981085">
                <a:moveTo>
                  <a:pt x="0" y="0"/>
                </a:moveTo>
                <a:lnTo>
                  <a:pt x="56895" y="1981085"/>
                </a:lnTo>
              </a:path>
            </a:pathLst>
          </a:custGeom>
          <a:noFill/>
          <a:ln w="3176" cap="flat" cmpd="sng">
            <a:solidFill>
              <a:srgbClr val="F1F1F1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56" name="Freeform 156"/>
          <p:cNvSpPr/>
          <p:nvPr/>
        </p:nvSpPr>
        <p:spPr>
          <a:xfrm>
            <a:off x="11715750" y="5153025"/>
            <a:ext cx="209042" cy="333375"/>
          </a:xfrm>
          <a:custGeom>
            <a:avLst/>
            <a:gdLst/>
            <a:ahLst/>
            <a:cxnLst/>
            <a:rect l="0" t="0" r="0" b="0"/>
            <a:pathLst>
              <a:path w="209042" h="333375">
                <a:moveTo>
                  <a:pt x="209042" y="0"/>
                </a:moveTo>
                <a:lnTo>
                  <a:pt x="0" y="333375"/>
                </a:lnTo>
                <a:lnTo>
                  <a:pt x="209042" y="0"/>
                </a:lnTo>
                <a:close/>
                <a:moveTo>
                  <a:pt x="-10010775" y="1704975"/>
                </a:moveTo>
              </a:path>
            </a:pathLst>
          </a:custGeom>
          <a:solidFill>
            <a:srgbClr val="BDD5EF">
              <a:alpha val="100000"/>
            </a:srgbClr>
          </a:solidFill>
          <a:ln w="317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57" name="Freeform 157"/>
          <p:cNvSpPr/>
          <p:nvPr/>
        </p:nvSpPr>
        <p:spPr>
          <a:xfrm>
            <a:off x="11720576" y="5157852"/>
            <a:ext cx="208915" cy="333248"/>
          </a:xfrm>
          <a:custGeom>
            <a:avLst/>
            <a:gdLst/>
            <a:ahLst/>
            <a:cxnLst/>
            <a:rect l="0" t="0" r="0" b="0"/>
            <a:pathLst>
              <a:path w="208915" h="333248">
                <a:moveTo>
                  <a:pt x="208915" y="0"/>
                </a:moveTo>
                <a:lnTo>
                  <a:pt x="0" y="333248"/>
                </a:lnTo>
                <a:lnTo>
                  <a:pt x="208915" y="0"/>
                </a:lnTo>
                <a:close/>
                <a:moveTo>
                  <a:pt x="-10020428" y="1700148"/>
                </a:move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58" name="Freeform 158"/>
          <p:cNvSpPr/>
          <p:nvPr/>
        </p:nvSpPr>
        <p:spPr>
          <a:xfrm>
            <a:off x="11720576" y="5157852"/>
            <a:ext cx="208915" cy="333248"/>
          </a:xfrm>
          <a:custGeom>
            <a:avLst/>
            <a:gdLst/>
            <a:ahLst/>
            <a:cxnLst/>
            <a:rect l="0" t="0" r="0" b="0"/>
            <a:pathLst>
              <a:path w="208915" h="333248">
                <a:moveTo>
                  <a:pt x="208915" y="0"/>
                </a:moveTo>
                <a:lnTo>
                  <a:pt x="0" y="333248"/>
                </a:ln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59" name="Freeform 159"/>
          <p:cNvSpPr/>
          <p:nvPr/>
        </p:nvSpPr>
        <p:spPr>
          <a:xfrm>
            <a:off x="11991975" y="4467225"/>
            <a:ext cx="199517" cy="599440"/>
          </a:xfrm>
          <a:custGeom>
            <a:avLst/>
            <a:gdLst/>
            <a:ahLst/>
            <a:cxnLst/>
            <a:rect l="0" t="0" r="0" b="0"/>
            <a:pathLst>
              <a:path w="199517" h="599440">
                <a:moveTo>
                  <a:pt x="199517" y="0"/>
                </a:moveTo>
                <a:lnTo>
                  <a:pt x="0" y="599440"/>
                </a:lnTo>
                <a:lnTo>
                  <a:pt x="199517" y="0"/>
                </a:lnTo>
                <a:close/>
                <a:moveTo>
                  <a:pt x="-9601200" y="2390775"/>
                </a:moveTo>
              </a:path>
            </a:pathLst>
          </a:custGeom>
          <a:solidFill>
            <a:srgbClr val="BDD5EF">
              <a:alpha val="100000"/>
            </a:srgbClr>
          </a:solidFill>
          <a:ln w="952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60" name="Freeform 160"/>
          <p:cNvSpPr/>
          <p:nvPr/>
        </p:nvSpPr>
        <p:spPr>
          <a:xfrm>
            <a:off x="11996801" y="4472052"/>
            <a:ext cx="199390" cy="599440"/>
          </a:xfrm>
          <a:custGeom>
            <a:avLst/>
            <a:gdLst/>
            <a:ahLst/>
            <a:cxnLst/>
            <a:rect l="0" t="0" r="0" b="0"/>
            <a:pathLst>
              <a:path w="199390" h="599440">
                <a:moveTo>
                  <a:pt x="199390" y="0"/>
                </a:moveTo>
                <a:lnTo>
                  <a:pt x="0" y="599440"/>
                </a:lnTo>
                <a:lnTo>
                  <a:pt x="199390" y="0"/>
                </a:lnTo>
              </a:path>
            </a:pathLst>
          </a:custGeom>
          <a:noFill/>
          <a:ln w="9527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61" name="Freeform 161"/>
          <p:cNvSpPr/>
          <p:nvPr/>
        </p:nvSpPr>
        <p:spPr>
          <a:xfrm>
            <a:off x="11996801" y="4472052"/>
            <a:ext cx="199390" cy="599440"/>
          </a:xfrm>
          <a:custGeom>
            <a:avLst/>
            <a:gdLst/>
            <a:ahLst/>
            <a:cxnLst/>
            <a:rect l="0" t="0" r="0" b="0"/>
            <a:pathLst>
              <a:path w="199390" h="599440">
                <a:moveTo>
                  <a:pt x="199390" y="0"/>
                </a:moveTo>
                <a:lnTo>
                  <a:pt x="0" y="599440"/>
                </a:lnTo>
              </a:path>
            </a:pathLst>
          </a:custGeom>
          <a:noFill/>
          <a:ln w="4764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62" name="Freeform 162"/>
          <p:cNvSpPr/>
          <p:nvPr/>
        </p:nvSpPr>
        <p:spPr>
          <a:xfrm>
            <a:off x="11458575" y="2857500"/>
            <a:ext cx="723518" cy="685420"/>
          </a:xfrm>
          <a:custGeom>
            <a:avLst/>
            <a:gdLst/>
            <a:ahLst/>
            <a:cxnLst/>
            <a:rect l="0" t="0" r="0" b="0"/>
            <a:pathLst>
              <a:path w="723518" h="685420">
                <a:moveTo>
                  <a:pt x="723518" y="0"/>
                </a:moveTo>
                <a:lnTo>
                  <a:pt x="0" y="685420"/>
                </a:lnTo>
                <a:lnTo>
                  <a:pt x="723518" y="0"/>
                </a:lnTo>
                <a:close/>
                <a:moveTo>
                  <a:pt x="-7458075" y="4000500"/>
                </a:moveTo>
              </a:path>
            </a:pathLst>
          </a:custGeom>
          <a:solidFill>
            <a:srgbClr val="BDD5EF">
              <a:alpha val="100000"/>
            </a:srgbClr>
          </a:solidFill>
          <a:ln w="952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63" name="Freeform 163"/>
          <p:cNvSpPr/>
          <p:nvPr/>
        </p:nvSpPr>
        <p:spPr>
          <a:xfrm>
            <a:off x="11463401" y="2862327"/>
            <a:ext cx="723392" cy="685291"/>
          </a:xfrm>
          <a:custGeom>
            <a:avLst/>
            <a:gdLst/>
            <a:ahLst/>
            <a:cxnLst/>
            <a:rect l="0" t="0" r="0" b="0"/>
            <a:pathLst>
              <a:path w="723392" h="685291">
                <a:moveTo>
                  <a:pt x="723392" y="0"/>
                </a:moveTo>
                <a:lnTo>
                  <a:pt x="0" y="685291"/>
                </a:lnTo>
                <a:lnTo>
                  <a:pt x="723392" y="0"/>
                </a:lnTo>
                <a:close/>
                <a:moveTo>
                  <a:pt x="-7467728" y="3995673"/>
                </a:move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64" name="Freeform 164"/>
          <p:cNvSpPr/>
          <p:nvPr/>
        </p:nvSpPr>
        <p:spPr>
          <a:xfrm>
            <a:off x="11463401" y="2862327"/>
            <a:ext cx="723392" cy="685291"/>
          </a:xfrm>
          <a:custGeom>
            <a:avLst/>
            <a:gdLst/>
            <a:ahLst/>
            <a:cxnLst/>
            <a:rect l="0" t="0" r="0" b="0"/>
            <a:pathLst>
              <a:path w="723392" h="685291">
                <a:moveTo>
                  <a:pt x="723392" y="0"/>
                </a:moveTo>
                <a:lnTo>
                  <a:pt x="0" y="685291"/>
                </a:lnTo>
              </a:path>
            </a:pathLst>
          </a:custGeom>
          <a:noFill/>
          <a:ln w="3175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65" name="Freeform 165"/>
          <p:cNvSpPr/>
          <p:nvPr/>
        </p:nvSpPr>
        <p:spPr>
          <a:xfrm>
            <a:off x="11953875" y="5105400"/>
            <a:ext cx="237617" cy="485687"/>
          </a:xfrm>
          <a:custGeom>
            <a:avLst/>
            <a:gdLst/>
            <a:ahLst/>
            <a:cxnLst/>
            <a:rect l="0" t="0" r="0" b="0"/>
            <a:pathLst>
              <a:path w="237617" h="485687">
                <a:moveTo>
                  <a:pt x="0" y="0"/>
                </a:moveTo>
                <a:lnTo>
                  <a:pt x="237617" y="485687"/>
                </a:lnTo>
                <a:lnTo>
                  <a:pt x="0" y="0"/>
                </a:lnTo>
                <a:close/>
                <a:moveTo>
                  <a:pt x="-10201275" y="1752600"/>
                </a:moveTo>
              </a:path>
            </a:pathLst>
          </a:custGeom>
          <a:solidFill>
            <a:srgbClr val="BDD5EF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66" name="Freeform 166"/>
          <p:cNvSpPr/>
          <p:nvPr/>
        </p:nvSpPr>
        <p:spPr>
          <a:xfrm>
            <a:off x="11958701" y="5110227"/>
            <a:ext cx="237490" cy="485622"/>
          </a:xfrm>
          <a:custGeom>
            <a:avLst/>
            <a:gdLst/>
            <a:ahLst/>
            <a:cxnLst/>
            <a:rect l="0" t="0" r="0" b="0"/>
            <a:pathLst>
              <a:path w="237490" h="485622">
                <a:moveTo>
                  <a:pt x="0" y="0"/>
                </a:moveTo>
                <a:lnTo>
                  <a:pt x="237490" y="485622"/>
                </a:ln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67" name="Freeform 167"/>
          <p:cNvSpPr/>
          <p:nvPr/>
        </p:nvSpPr>
        <p:spPr>
          <a:xfrm>
            <a:off x="11958701" y="5110227"/>
            <a:ext cx="237490" cy="485622"/>
          </a:xfrm>
          <a:custGeom>
            <a:avLst/>
            <a:gdLst/>
            <a:ahLst/>
            <a:cxnLst/>
            <a:rect l="0" t="0" r="0" b="0"/>
            <a:pathLst>
              <a:path w="237490" h="485622">
                <a:moveTo>
                  <a:pt x="237490" y="485622"/>
                </a:moveTo>
                <a:lnTo>
                  <a:pt x="0" y="0"/>
                </a:ln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68" name="Freeform 168"/>
          <p:cNvSpPr/>
          <p:nvPr/>
        </p:nvSpPr>
        <p:spPr>
          <a:xfrm>
            <a:off x="11958701" y="5110227"/>
            <a:ext cx="237490" cy="485622"/>
          </a:xfrm>
          <a:custGeom>
            <a:avLst/>
            <a:gdLst/>
            <a:ahLst/>
            <a:cxnLst/>
            <a:rect l="0" t="0" r="0" b="0"/>
            <a:pathLst>
              <a:path w="237490" h="485622">
                <a:moveTo>
                  <a:pt x="0" y="0"/>
                </a:moveTo>
                <a:lnTo>
                  <a:pt x="237490" y="485622"/>
                </a:lnTo>
              </a:path>
            </a:pathLst>
          </a:custGeom>
          <a:noFill/>
          <a:ln w="3175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69" name="Freeform 169"/>
          <p:cNvSpPr/>
          <p:nvPr/>
        </p:nvSpPr>
        <p:spPr>
          <a:xfrm>
            <a:off x="11953875" y="5105400"/>
            <a:ext cx="237617" cy="142622"/>
          </a:xfrm>
          <a:custGeom>
            <a:avLst/>
            <a:gdLst/>
            <a:ahLst/>
            <a:cxnLst/>
            <a:rect l="0" t="0" r="0" b="0"/>
            <a:pathLst>
              <a:path w="237617" h="142622">
                <a:moveTo>
                  <a:pt x="0" y="0"/>
                </a:moveTo>
                <a:lnTo>
                  <a:pt x="237617" y="142622"/>
                </a:lnTo>
                <a:lnTo>
                  <a:pt x="0" y="0"/>
                </a:lnTo>
                <a:close/>
                <a:moveTo>
                  <a:pt x="-10201275" y="1752600"/>
                </a:moveTo>
              </a:path>
            </a:pathLst>
          </a:custGeom>
          <a:solidFill>
            <a:srgbClr val="BDD5EF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70" name="Freeform 170"/>
          <p:cNvSpPr/>
          <p:nvPr/>
        </p:nvSpPr>
        <p:spPr>
          <a:xfrm>
            <a:off x="11958701" y="5110227"/>
            <a:ext cx="237490" cy="142621"/>
          </a:xfrm>
          <a:custGeom>
            <a:avLst/>
            <a:gdLst/>
            <a:ahLst/>
            <a:cxnLst/>
            <a:rect l="0" t="0" r="0" b="0"/>
            <a:pathLst>
              <a:path w="237490" h="142621">
                <a:moveTo>
                  <a:pt x="0" y="0"/>
                </a:moveTo>
                <a:lnTo>
                  <a:pt x="237490" y="142621"/>
                </a:ln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71" name="Freeform 171"/>
          <p:cNvSpPr/>
          <p:nvPr/>
        </p:nvSpPr>
        <p:spPr>
          <a:xfrm>
            <a:off x="11958701" y="5110227"/>
            <a:ext cx="237490" cy="142621"/>
          </a:xfrm>
          <a:custGeom>
            <a:avLst/>
            <a:gdLst/>
            <a:ahLst/>
            <a:cxnLst/>
            <a:rect l="0" t="0" r="0" b="0"/>
            <a:pathLst>
              <a:path w="237490" h="142621">
                <a:moveTo>
                  <a:pt x="237490" y="142621"/>
                </a:moveTo>
                <a:lnTo>
                  <a:pt x="0" y="0"/>
                </a:ln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72" name="Freeform 172"/>
          <p:cNvSpPr/>
          <p:nvPr/>
        </p:nvSpPr>
        <p:spPr>
          <a:xfrm>
            <a:off x="11958701" y="5110227"/>
            <a:ext cx="237490" cy="142621"/>
          </a:xfrm>
          <a:custGeom>
            <a:avLst/>
            <a:gdLst/>
            <a:ahLst/>
            <a:cxnLst/>
            <a:rect l="0" t="0" r="0" b="0"/>
            <a:pathLst>
              <a:path w="237490" h="142621">
                <a:moveTo>
                  <a:pt x="0" y="0"/>
                </a:moveTo>
                <a:lnTo>
                  <a:pt x="237490" y="142621"/>
                </a:lnTo>
              </a:path>
            </a:pathLst>
          </a:custGeom>
          <a:noFill/>
          <a:ln w="11103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73" name="Freeform 173"/>
          <p:cNvSpPr/>
          <p:nvPr/>
        </p:nvSpPr>
        <p:spPr>
          <a:xfrm>
            <a:off x="10506075" y="3209925"/>
            <a:ext cx="618743" cy="1219200"/>
          </a:xfrm>
          <a:custGeom>
            <a:avLst/>
            <a:gdLst/>
            <a:ahLst/>
            <a:cxnLst/>
            <a:rect l="0" t="0" r="0" b="0"/>
            <a:pathLst>
              <a:path w="618743" h="1219200">
                <a:moveTo>
                  <a:pt x="618743" y="0"/>
                </a:moveTo>
                <a:lnTo>
                  <a:pt x="0" y="1219200"/>
                </a:lnTo>
                <a:lnTo>
                  <a:pt x="618743" y="0"/>
                </a:lnTo>
                <a:close/>
                <a:moveTo>
                  <a:pt x="-6858000" y="3648075"/>
                </a:moveTo>
              </a:path>
            </a:pathLst>
          </a:custGeom>
          <a:solidFill>
            <a:srgbClr val="BDD5EF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74" name="Freeform 174"/>
          <p:cNvSpPr/>
          <p:nvPr/>
        </p:nvSpPr>
        <p:spPr>
          <a:xfrm>
            <a:off x="10510901" y="3214752"/>
            <a:ext cx="618743" cy="1219072"/>
          </a:xfrm>
          <a:custGeom>
            <a:avLst/>
            <a:gdLst/>
            <a:ahLst/>
            <a:cxnLst/>
            <a:rect l="0" t="0" r="0" b="0"/>
            <a:pathLst>
              <a:path w="618743" h="1219072">
                <a:moveTo>
                  <a:pt x="618743" y="0"/>
                </a:moveTo>
                <a:lnTo>
                  <a:pt x="0" y="1219072"/>
                </a:lnTo>
                <a:lnTo>
                  <a:pt x="618743" y="0"/>
                </a:lnTo>
                <a:close/>
                <a:moveTo>
                  <a:pt x="-6867653" y="3643248"/>
                </a:moveTo>
              </a:path>
            </a:pathLst>
          </a:custGeom>
          <a:noFill/>
          <a:ln w="9526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75" name="Freeform 175"/>
          <p:cNvSpPr/>
          <p:nvPr/>
        </p:nvSpPr>
        <p:spPr>
          <a:xfrm>
            <a:off x="10510901" y="3214752"/>
            <a:ext cx="618743" cy="1219072"/>
          </a:xfrm>
          <a:custGeom>
            <a:avLst/>
            <a:gdLst/>
            <a:ahLst/>
            <a:cxnLst/>
            <a:rect l="0" t="0" r="0" b="0"/>
            <a:pathLst>
              <a:path w="618743" h="1219072">
                <a:moveTo>
                  <a:pt x="618743" y="0"/>
                </a:moveTo>
                <a:lnTo>
                  <a:pt x="0" y="1219072"/>
                </a:lnTo>
              </a:path>
            </a:pathLst>
          </a:custGeom>
          <a:noFill/>
          <a:ln w="3175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76" name="Freeform 176"/>
          <p:cNvSpPr/>
          <p:nvPr/>
        </p:nvSpPr>
        <p:spPr>
          <a:xfrm>
            <a:off x="9848850" y="1895475"/>
            <a:ext cx="1276222" cy="1314323"/>
          </a:xfrm>
          <a:custGeom>
            <a:avLst/>
            <a:gdLst/>
            <a:ahLst/>
            <a:cxnLst/>
            <a:rect l="0" t="0" r="0" b="0"/>
            <a:pathLst>
              <a:path w="1276222" h="1314323">
                <a:moveTo>
                  <a:pt x="0" y="0"/>
                </a:moveTo>
                <a:lnTo>
                  <a:pt x="1276222" y="1314323"/>
                </a:lnTo>
                <a:lnTo>
                  <a:pt x="0" y="0"/>
                </a:lnTo>
                <a:close/>
                <a:moveTo>
                  <a:pt x="-4886325" y="4962525"/>
                </a:moveTo>
              </a:path>
            </a:pathLst>
          </a:custGeom>
          <a:solidFill>
            <a:srgbClr val="BDD5EF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77" name="Freeform 177"/>
          <p:cNvSpPr/>
          <p:nvPr/>
        </p:nvSpPr>
        <p:spPr>
          <a:xfrm>
            <a:off x="9853676" y="1900302"/>
            <a:ext cx="1276095" cy="1314195"/>
          </a:xfrm>
          <a:custGeom>
            <a:avLst/>
            <a:gdLst/>
            <a:ahLst/>
            <a:cxnLst/>
            <a:rect l="0" t="0" r="0" b="0"/>
            <a:pathLst>
              <a:path w="1276095" h="1314195">
                <a:moveTo>
                  <a:pt x="0" y="0"/>
                </a:moveTo>
                <a:lnTo>
                  <a:pt x="1276095" y="1314195"/>
                </a:lnTo>
                <a:lnTo>
                  <a:pt x="0" y="0"/>
                </a:lnTo>
                <a:close/>
                <a:moveTo>
                  <a:pt x="-4895978" y="4957698"/>
                </a:move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78" name="Freeform 178"/>
          <p:cNvSpPr/>
          <p:nvPr/>
        </p:nvSpPr>
        <p:spPr>
          <a:xfrm>
            <a:off x="9853676" y="1900302"/>
            <a:ext cx="1276095" cy="1314195"/>
          </a:xfrm>
          <a:custGeom>
            <a:avLst/>
            <a:gdLst/>
            <a:ahLst/>
            <a:cxnLst/>
            <a:rect l="0" t="0" r="0" b="0"/>
            <a:pathLst>
              <a:path w="1276095" h="1314195">
                <a:moveTo>
                  <a:pt x="0" y="0"/>
                </a:moveTo>
                <a:lnTo>
                  <a:pt x="1276095" y="1314195"/>
                </a:lnTo>
              </a:path>
            </a:pathLst>
          </a:custGeom>
          <a:noFill/>
          <a:ln w="3175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79" name="Freeform 179"/>
          <p:cNvSpPr/>
          <p:nvPr/>
        </p:nvSpPr>
        <p:spPr>
          <a:xfrm>
            <a:off x="9782175" y="1895475"/>
            <a:ext cx="66547" cy="1266317"/>
          </a:xfrm>
          <a:custGeom>
            <a:avLst/>
            <a:gdLst/>
            <a:ahLst/>
            <a:cxnLst/>
            <a:rect l="0" t="0" r="0" b="0"/>
            <a:pathLst>
              <a:path w="66547" h="1266317">
                <a:moveTo>
                  <a:pt x="66547" y="0"/>
                </a:moveTo>
                <a:lnTo>
                  <a:pt x="0" y="1266317"/>
                </a:lnTo>
                <a:lnTo>
                  <a:pt x="66547" y="0"/>
                </a:lnTo>
                <a:close/>
                <a:moveTo>
                  <a:pt x="-4819650" y="4962525"/>
                </a:moveTo>
              </a:path>
            </a:pathLst>
          </a:custGeom>
          <a:solidFill>
            <a:srgbClr val="BDD5EF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80" name="Freeform 180"/>
          <p:cNvSpPr/>
          <p:nvPr/>
        </p:nvSpPr>
        <p:spPr>
          <a:xfrm>
            <a:off x="9787001" y="1900302"/>
            <a:ext cx="66547" cy="1266316"/>
          </a:xfrm>
          <a:custGeom>
            <a:avLst/>
            <a:gdLst/>
            <a:ahLst/>
            <a:cxnLst/>
            <a:rect l="0" t="0" r="0" b="0"/>
            <a:pathLst>
              <a:path w="66547" h="1266316">
                <a:moveTo>
                  <a:pt x="0" y="1266316"/>
                </a:moveTo>
                <a:lnTo>
                  <a:pt x="66547" y="0"/>
                </a:lnTo>
                <a:lnTo>
                  <a:pt x="0" y="1266316"/>
                </a:lnTo>
                <a:close/>
                <a:moveTo>
                  <a:pt x="-6095619" y="4957698"/>
                </a:moveTo>
              </a:path>
            </a:pathLst>
          </a:custGeom>
          <a:noFill/>
          <a:ln w="9528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81" name="Freeform 181"/>
          <p:cNvSpPr/>
          <p:nvPr/>
        </p:nvSpPr>
        <p:spPr>
          <a:xfrm>
            <a:off x="9787001" y="1900302"/>
            <a:ext cx="66547" cy="1266316"/>
          </a:xfrm>
          <a:custGeom>
            <a:avLst/>
            <a:gdLst/>
            <a:ahLst/>
            <a:cxnLst/>
            <a:rect l="0" t="0" r="0" b="0"/>
            <a:pathLst>
              <a:path w="66547" h="1266316">
                <a:moveTo>
                  <a:pt x="0" y="1266316"/>
                </a:moveTo>
                <a:lnTo>
                  <a:pt x="66547" y="0"/>
                </a:lnTo>
              </a:path>
            </a:pathLst>
          </a:custGeom>
          <a:noFill/>
          <a:ln w="3176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82" name="Freeform 182"/>
          <p:cNvSpPr/>
          <p:nvPr/>
        </p:nvSpPr>
        <p:spPr>
          <a:xfrm>
            <a:off x="8772525" y="2495550"/>
            <a:ext cx="3419093" cy="332995"/>
          </a:xfrm>
          <a:custGeom>
            <a:avLst/>
            <a:gdLst/>
            <a:ahLst/>
            <a:cxnLst/>
            <a:rect l="0" t="0" r="0" b="0"/>
            <a:pathLst>
              <a:path w="3419093" h="332995">
                <a:moveTo>
                  <a:pt x="0" y="0"/>
                </a:moveTo>
                <a:lnTo>
                  <a:pt x="3419093" y="332995"/>
                </a:lnTo>
                <a:lnTo>
                  <a:pt x="0" y="0"/>
                </a:lnTo>
                <a:close/>
                <a:moveTo>
                  <a:pt x="-4410075" y="4362450"/>
                </a:moveTo>
              </a:path>
            </a:pathLst>
          </a:custGeom>
          <a:solidFill>
            <a:srgbClr val="BDD5EF">
              <a:alpha val="100000"/>
            </a:srgbClr>
          </a:solidFill>
          <a:ln w="317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83" name="Freeform 183"/>
          <p:cNvSpPr/>
          <p:nvPr/>
        </p:nvSpPr>
        <p:spPr>
          <a:xfrm>
            <a:off x="8777351" y="2500377"/>
            <a:ext cx="3418967" cy="332994"/>
          </a:xfrm>
          <a:custGeom>
            <a:avLst/>
            <a:gdLst/>
            <a:ahLst/>
            <a:cxnLst/>
            <a:rect l="0" t="0" r="0" b="0"/>
            <a:pathLst>
              <a:path w="3418967" h="332994">
                <a:moveTo>
                  <a:pt x="0" y="0"/>
                </a:moveTo>
                <a:lnTo>
                  <a:pt x="3418967" y="332994"/>
                </a:ln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84" name="Freeform 184"/>
          <p:cNvSpPr/>
          <p:nvPr/>
        </p:nvSpPr>
        <p:spPr>
          <a:xfrm>
            <a:off x="8777351" y="2500377"/>
            <a:ext cx="3418967" cy="332994"/>
          </a:xfrm>
          <a:custGeom>
            <a:avLst/>
            <a:gdLst/>
            <a:ahLst/>
            <a:cxnLst/>
            <a:rect l="0" t="0" r="0" b="0"/>
            <a:pathLst>
              <a:path w="3418967" h="332994">
                <a:moveTo>
                  <a:pt x="3418967" y="332994"/>
                </a:moveTo>
                <a:lnTo>
                  <a:pt x="0" y="0"/>
                </a:lnTo>
              </a:path>
            </a:pathLst>
          </a:custGeom>
          <a:noFill/>
          <a:ln w="9521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85" name="Freeform 185"/>
          <p:cNvSpPr/>
          <p:nvPr/>
        </p:nvSpPr>
        <p:spPr>
          <a:xfrm>
            <a:off x="8777351" y="2500377"/>
            <a:ext cx="3418967" cy="332994"/>
          </a:xfrm>
          <a:custGeom>
            <a:avLst/>
            <a:gdLst/>
            <a:ahLst/>
            <a:cxnLst/>
            <a:rect l="0" t="0" r="0" b="0"/>
            <a:pathLst>
              <a:path w="3418967" h="332994">
                <a:moveTo>
                  <a:pt x="0" y="0"/>
                </a:moveTo>
                <a:lnTo>
                  <a:pt x="3418967" y="332994"/>
                </a:lnTo>
              </a:path>
            </a:pathLst>
          </a:custGeom>
          <a:noFill/>
          <a:ln w="3175" cap="flat" cmpd="sng">
            <a:solidFill>
              <a:srgbClr val="F1F1F1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86" name="Freeform 186"/>
          <p:cNvSpPr/>
          <p:nvPr/>
        </p:nvSpPr>
        <p:spPr>
          <a:xfrm>
            <a:off x="9348851" y="3224277"/>
            <a:ext cx="685672" cy="542544"/>
          </a:xfrm>
          <a:custGeom>
            <a:avLst/>
            <a:gdLst/>
            <a:ahLst/>
            <a:cxnLst/>
            <a:rect l="0" t="0" r="0" b="0"/>
            <a:pathLst>
              <a:path w="685672" h="542544">
                <a:moveTo>
                  <a:pt x="0" y="542544"/>
                </a:moveTo>
                <a:lnTo>
                  <a:pt x="685672" y="0"/>
                </a:lnTo>
              </a:path>
            </a:pathLst>
          </a:custGeom>
          <a:noFill/>
          <a:ln w="3175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87" name="Freeform 187"/>
          <p:cNvSpPr/>
          <p:nvPr/>
        </p:nvSpPr>
        <p:spPr>
          <a:xfrm>
            <a:off x="9796526" y="3186177"/>
            <a:ext cx="704595" cy="1237615"/>
          </a:xfrm>
          <a:custGeom>
            <a:avLst/>
            <a:gdLst/>
            <a:ahLst/>
            <a:cxnLst/>
            <a:rect l="0" t="0" r="0" b="0"/>
            <a:pathLst>
              <a:path w="704595" h="1237615">
                <a:moveTo>
                  <a:pt x="0" y="0"/>
                </a:moveTo>
                <a:lnTo>
                  <a:pt x="704595" y="1237615"/>
                </a:lnTo>
              </a:path>
            </a:pathLst>
          </a:custGeom>
          <a:noFill/>
          <a:ln w="4763" cap="flat" cmpd="sng">
            <a:solidFill>
              <a:srgbClr val="D2DFE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188" name="Picture 188"/>
          <p:cNvPicPr>
            <a:picLocks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42975" y="752475"/>
            <a:ext cx="1781175" cy="847725"/>
          </a:xfrm>
          <a:prstGeom prst="rect">
            <a:avLst/>
          </a:prstGeom>
          <a:noFill/>
        </p:spPr>
      </p:pic>
      <p:sp>
        <p:nvSpPr>
          <p:cNvPr id="189" name="Rectangle 189"/>
          <p:cNvSpPr/>
          <p:nvPr/>
        </p:nvSpPr>
        <p:spPr>
          <a:xfrm>
            <a:off x="958532" y="4082459"/>
            <a:ext cx="7425631" cy="91887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5407" b="1" i="0" spc="0" baseline="0" dirty="0">
                <a:solidFill>
                  <a:srgbClr val="15375D"/>
                </a:solidFill>
                <a:latin typeface="Arial"/>
              </a:rPr>
              <a:t>Consultin</a:t>
            </a:r>
            <a:r>
              <a:rPr lang="fr-FR" sz="5407" b="1" i="0" spc="1465" baseline="0" dirty="0">
                <a:solidFill>
                  <a:srgbClr val="15375D"/>
                </a:solidFill>
                <a:latin typeface="Arial"/>
              </a:rPr>
              <a:t>g</a:t>
            </a:r>
            <a:r>
              <a:rPr lang="fr-FR" sz="5407" b="1" i="0" spc="0" baseline="0" dirty="0">
                <a:solidFill>
                  <a:srgbClr val="15375D"/>
                </a:solidFill>
                <a:latin typeface="Arial"/>
              </a:rPr>
              <a:t>Boo</a:t>
            </a:r>
            <a:r>
              <a:rPr lang="fr-FR" sz="5407" b="1" i="0" spc="1452" baseline="0" dirty="0">
                <a:solidFill>
                  <a:srgbClr val="15375D"/>
                </a:solidFill>
                <a:latin typeface="Arial"/>
              </a:rPr>
              <a:t>t</a:t>
            </a:r>
            <a:r>
              <a:rPr lang="fr-FR" sz="5407" b="1" i="0" spc="0" baseline="0" dirty="0">
                <a:solidFill>
                  <a:srgbClr val="15375D"/>
                </a:solidFill>
                <a:latin typeface="Arial"/>
              </a:rPr>
              <a:t>Camp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0" name="Freeform 760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61" name="Freeform 76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010304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75" name="Rectangle 775"/>
          <p:cNvSpPr/>
          <p:nvPr/>
        </p:nvSpPr>
        <p:spPr>
          <a:xfrm>
            <a:off x="11418951" y="6397333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26</a:t>
            </a:r>
          </a:p>
        </p:txBody>
      </p: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449EC404-BA6B-18D5-04A3-C527000129CF}"/>
              </a:ext>
            </a:extLst>
          </p:cNvPr>
          <p:cNvSpPr txBox="1">
            <a:spLocks/>
          </p:cNvSpPr>
          <p:nvPr/>
        </p:nvSpPr>
        <p:spPr>
          <a:xfrm>
            <a:off x="0" y="6465888"/>
            <a:ext cx="663575" cy="179387"/>
          </a:xfrm>
          <a:prstGeom prst="rect">
            <a:avLst/>
          </a:prstGeom>
        </p:spPr>
        <p:txBody>
          <a:bodyPr/>
          <a:lstStyle/>
          <a:p>
            <a:fld id="{F1BC30E3-FFE5-4B91-AA19-87A149EBB9EE}" type="slidenum">
              <a:rPr lang="fr-FR" smtClean="0"/>
              <a:pPr/>
              <a:t>10</a:t>
            </a:fld>
            <a:endParaRPr lang="fr-FR" dirty="0"/>
          </a:p>
        </p:txBody>
      </p:sp>
      <p:pic>
        <p:nvPicPr>
          <p:cNvPr id="18" name="Image 8">
            <a:extLst>
              <a:ext uri="{FF2B5EF4-FFF2-40B4-BE49-F238E27FC236}">
                <a16:creationId xmlns:a16="http://schemas.microsoft.com/office/drawing/2014/main" id="{E00B8FCB-6072-A0AC-0349-9718E684A6B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2000"/>
          </a:blip>
          <a:stretch>
            <a:fillRect/>
          </a:stretch>
        </p:blipFill>
        <p:spPr>
          <a:xfrm>
            <a:off x="2871606" y="1174943"/>
            <a:ext cx="6113512" cy="3552789"/>
          </a:xfrm>
          <a:prstGeom prst="rect">
            <a:avLst/>
          </a:prstGeom>
        </p:spPr>
      </p:pic>
      <p:pic>
        <p:nvPicPr>
          <p:cNvPr id="37" name="Image 8">
            <a:extLst>
              <a:ext uri="{FF2B5EF4-FFF2-40B4-BE49-F238E27FC236}">
                <a16:creationId xmlns:a16="http://schemas.microsoft.com/office/drawing/2014/main" id="{F25FA5E9-33DA-3D3A-91C8-EC1B3840116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2000"/>
          </a:blip>
          <a:stretch>
            <a:fillRect/>
          </a:stretch>
        </p:blipFill>
        <p:spPr>
          <a:xfrm>
            <a:off x="2871606" y="1174943"/>
            <a:ext cx="6113512" cy="3552789"/>
          </a:xfrm>
          <a:prstGeom prst="rect">
            <a:avLst/>
          </a:prstGeom>
        </p:spPr>
      </p:pic>
      <p:sp>
        <p:nvSpPr>
          <p:cNvPr id="38" name="Slide Number Placeholder 2">
            <a:extLst>
              <a:ext uri="{FF2B5EF4-FFF2-40B4-BE49-F238E27FC236}">
                <a16:creationId xmlns:a16="http://schemas.microsoft.com/office/drawing/2014/main" id="{C104D79E-DB13-FD25-C6CE-46060FB8C036}"/>
              </a:ext>
            </a:extLst>
          </p:cNvPr>
          <p:cNvSpPr txBox="1">
            <a:spLocks/>
          </p:cNvSpPr>
          <p:nvPr/>
        </p:nvSpPr>
        <p:spPr>
          <a:xfrm>
            <a:off x="0" y="6465888"/>
            <a:ext cx="663575" cy="17938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BC30E3-FFE5-4B91-AA19-87A149EBB9EE}" type="slidenum">
              <a:rPr lang="fr-FR" smtClean="0">
                <a:solidFill>
                  <a:srgbClr val="2E2E38"/>
                </a:solidFill>
                <a:latin typeface="EYInterstate Light"/>
              </a:rPr>
              <a:pPr/>
              <a:t>10</a:t>
            </a:fld>
            <a:endParaRPr lang="fr-FR" dirty="0">
              <a:solidFill>
                <a:srgbClr val="2E2E38"/>
              </a:solidFill>
              <a:latin typeface="EYInterstate Ligh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7EB310BD-7231-F621-6DDF-9C9E21C489FF}"/>
              </a:ext>
            </a:extLst>
          </p:cNvPr>
          <p:cNvSpPr/>
          <p:nvPr/>
        </p:nvSpPr>
        <p:spPr>
          <a:xfrm>
            <a:off x="4787782" y="2951010"/>
            <a:ext cx="1015967" cy="359813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ctr" defTabSz="913943" rtl="0" fontAlgn="base">
              <a:spcBef>
                <a:spcPts val="6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60000"/>
              <a:tabLst>
                <a:tab pos="177711" algn="l"/>
              </a:tabLst>
              <a:defRPr/>
            </a:pPr>
            <a:r>
              <a:rPr lang="en-US" sz="2000" dirty="0">
                <a:solidFill>
                  <a:srgbClr val="F6F6FA"/>
                </a:solidFill>
                <a:latin typeface="EYInterstate Light" panose="02000506000000020004" pitchFamily="2" charset="0"/>
                <a:ea typeface="+mn-ea"/>
                <a:cs typeface="+mn-cs"/>
              </a:rPr>
              <a:t>400 000 </a:t>
            </a:r>
            <a:r>
              <a:rPr lang="en-US" sz="1600" dirty="0">
                <a:solidFill>
                  <a:srgbClr val="F6F6FA"/>
                </a:solidFill>
                <a:latin typeface="EYInterstate Light" panose="02000506000000020004" pitchFamily="2" charset="0"/>
                <a:ea typeface="+mn-ea"/>
                <a:cs typeface="+mn-cs"/>
              </a:rPr>
              <a:t>employees</a:t>
            </a:r>
            <a:endParaRPr lang="en-US" sz="1100" kern="1200" dirty="0">
              <a:solidFill>
                <a:srgbClr val="F6F6FA"/>
              </a:solidFill>
              <a:latin typeface="EYInterstate Light" panose="02000506000000020004" pitchFamily="2" charset="0"/>
              <a:ea typeface="+mn-ea"/>
              <a:cs typeface="EYInterstate Ligh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0C96892-C47E-8B51-3FEC-3C89D82DBE84}"/>
              </a:ext>
            </a:extLst>
          </p:cNvPr>
          <p:cNvSpPr/>
          <p:nvPr/>
        </p:nvSpPr>
        <p:spPr>
          <a:xfrm>
            <a:off x="6053740" y="2951010"/>
            <a:ext cx="1243256" cy="359813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indent="-177711" algn="ctr" defTabSz="913943" rtl="0" fontAlgn="base">
              <a:spcBef>
                <a:spcPts val="6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SzPct val="60000"/>
              <a:tabLst>
                <a:tab pos="177711" algn="l"/>
              </a:tabLst>
              <a:defRPr/>
            </a:pPr>
            <a:r>
              <a:rPr lang="en-US" sz="2000" dirty="0">
                <a:solidFill>
                  <a:srgbClr val="F6F6FA"/>
                </a:solidFill>
                <a:latin typeface="EYInterstate Light" panose="02000506000000020004" pitchFamily="2" charset="0"/>
                <a:ea typeface="+mn-ea"/>
                <a:cs typeface="+mn-cs"/>
              </a:rPr>
              <a:t>150                countries</a:t>
            </a:r>
          </a:p>
        </p:txBody>
      </p:sp>
      <p:pic>
        <p:nvPicPr>
          <p:cNvPr id="41" name="Graphic 246">
            <a:extLst>
              <a:ext uri="{FF2B5EF4-FFF2-40B4-BE49-F238E27FC236}">
                <a16:creationId xmlns:a16="http://schemas.microsoft.com/office/drawing/2014/main" id="{4323CE9D-9AD7-2CDF-0E43-C950256D55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02883" y="2251567"/>
            <a:ext cx="362632" cy="446317"/>
          </a:xfrm>
          <a:prstGeom prst="rect">
            <a:avLst/>
          </a:prstGeom>
        </p:spPr>
      </p:pic>
      <p:pic>
        <p:nvPicPr>
          <p:cNvPr id="42" name="Graphic 247">
            <a:extLst>
              <a:ext uri="{FF2B5EF4-FFF2-40B4-BE49-F238E27FC236}">
                <a16:creationId xmlns:a16="http://schemas.microsoft.com/office/drawing/2014/main" id="{C982830C-664B-EE11-2A88-E1807C268B7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16719" y="2231362"/>
            <a:ext cx="446317" cy="488159"/>
          </a:xfrm>
          <a:prstGeom prst="rect">
            <a:avLst/>
          </a:prstGeom>
        </p:spPr>
      </p:pic>
      <p:sp>
        <p:nvSpPr>
          <p:cNvPr id="43" name="ZoneTexte 5">
            <a:extLst>
              <a:ext uri="{FF2B5EF4-FFF2-40B4-BE49-F238E27FC236}">
                <a16:creationId xmlns:a16="http://schemas.microsoft.com/office/drawing/2014/main" id="{8DC25D55-A2CE-0392-B2B4-94752BA69FD8}"/>
              </a:ext>
            </a:extLst>
          </p:cNvPr>
          <p:cNvSpPr txBox="1"/>
          <p:nvPr/>
        </p:nvSpPr>
        <p:spPr>
          <a:xfrm>
            <a:off x="300820" y="2167310"/>
            <a:ext cx="3823086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2700" marR="286385" algn="l" rtl="0">
              <a:spcBef>
                <a:spcPts val="650"/>
              </a:spcBef>
            </a:pPr>
            <a:r>
              <a:rPr lang="fr-FR" sz="1400" kern="1200" dirty="0">
                <a:solidFill>
                  <a:srgbClr val="FFFFFF"/>
                </a:solidFill>
                <a:latin typeface="EYInterstate-Light"/>
                <a:ea typeface="+mn-ea"/>
                <a:cs typeface="+mn-cs"/>
              </a:rPr>
              <a:t>23 </a:t>
            </a:r>
            <a:r>
              <a:rPr lang="fr-FR" sz="1400" kern="1200" dirty="0" err="1">
                <a:solidFill>
                  <a:srgbClr val="FFFFFF"/>
                </a:solidFill>
                <a:latin typeface="EYInterstate-Light"/>
                <a:ea typeface="+mn-ea"/>
                <a:cs typeface="EYInterstate-Light"/>
              </a:rPr>
              <a:t>consecutive</a:t>
            </a:r>
            <a:r>
              <a:rPr lang="fr-FR" sz="1400" kern="1200" dirty="0">
                <a:solidFill>
                  <a:srgbClr val="FFFFFF"/>
                </a:solidFill>
                <a:latin typeface="EYInterstate-Light"/>
                <a:ea typeface="+mn-ea"/>
                <a:cs typeface="EYInterstate-Light"/>
              </a:rPr>
              <a:t> </a:t>
            </a:r>
            <a:r>
              <a:rPr lang="fr-FR" sz="1400" kern="1200" dirty="0" err="1">
                <a:solidFill>
                  <a:srgbClr val="FFFFFF"/>
                </a:solidFill>
                <a:latin typeface="EYInterstate-Light"/>
                <a:ea typeface="+mn-ea"/>
                <a:cs typeface="EYInterstate-Light"/>
              </a:rPr>
              <a:t>years</a:t>
            </a:r>
            <a:r>
              <a:rPr lang="fr-FR" sz="1400" kern="1200" dirty="0">
                <a:solidFill>
                  <a:srgbClr val="FFFFFF"/>
                </a:solidFill>
                <a:latin typeface="EYInterstate-Light"/>
                <a:ea typeface="+mn-ea"/>
                <a:cs typeface="EYInterstate-Light"/>
              </a:rPr>
              <a:t> </a:t>
            </a:r>
            <a:br>
              <a:rPr lang="fr-FR" sz="1400" kern="1200" dirty="0">
                <a:solidFill>
                  <a:srgbClr val="FFFFFF"/>
                </a:solidFill>
                <a:latin typeface="EYInterstate-Light"/>
                <a:ea typeface="+mn-ea"/>
                <a:cs typeface="EYInterstate-Light"/>
              </a:rPr>
            </a:br>
            <a:r>
              <a:rPr lang="fr-FR" sz="2800" kern="1200" spc="-20" dirty="0">
                <a:solidFill>
                  <a:srgbClr val="FFE600"/>
                </a:solidFill>
                <a:latin typeface="EYInterstate-Light"/>
                <a:ea typeface="+mn-ea"/>
                <a:cs typeface="+mn-cs"/>
              </a:rPr>
              <a:t>Fortune 100 best- </a:t>
            </a:r>
            <a:r>
              <a:rPr lang="fr-FR" sz="2800" kern="1200" spc="-20" dirty="0" err="1">
                <a:solidFill>
                  <a:srgbClr val="FFE600"/>
                </a:solidFill>
                <a:latin typeface="EYInterstate-Light"/>
                <a:ea typeface="+mn-ea"/>
                <a:cs typeface="+mn-cs"/>
              </a:rPr>
              <a:t>companies</a:t>
            </a:r>
            <a:r>
              <a:rPr lang="fr-FR" sz="2800" kern="1200" spc="-20" dirty="0">
                <a:solidFill>
                  <a:srgbClr val="FFE600"/>
                </a:solidFill>
                <a:latin typeface="EYInterstate-Light"/>
                <a:ea typeface="+mn-ea"/>
                <a:cs typeface="+mn-cs"/>
              </a:rPr>
              <a:t>-to-</a:t>
            </a:r>
            <a:r>
              <a:rPr lang="fr-FR" sz="2800" kern="1200" spc="-20" dirty="0" err="1">
                <a:solidFill>
                  <a:srgbClr val="FFE600"/>
                </a:solidFill>
                <a:latin typeface="EYInterstate-Light"/>
                <a:ea typeface="+mn-ea"/>
                <a:cs typeface="+mn-cs"/>
              </a:rPr>
              <a:t>work</a:t>
            </a:r>
            <a:r>
              <a:rPr lang="fr-FR" sz="2800" kern="1200" spc="-20" dirty="0">
                <a:solidFill>
                  <a:srgbClr val="FFE600"/>
                </a:solidFill>
                <a:latin typeface="EYInterstate-Light"/>
                <a:ea typeface="+mn-ea"/>
                <a:cs typeface="+mn-cs"/>
              </a:rPr>
              <a:t>-for</a:t>
            </a:r>
            <a:endParaRPr lang="fr-FR" sz="1200" kern="1200" dirty="0">
              <a:solidFill>
                <a:srgbClr val="2E2E38"/>
              </a:solidFill>
              <a:latin typeface="EYInterstate Light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Text Box 4143">
            <a:extLst>
              <a:ext uri="{FF2B5EF4-FFF2-40B4-BE49-F238E27FC236}">
                <a16:creationId xmlns:a16="http://schemas.microsoft.com/office/drawing/2014/main" id="{89F5481A-F865-22B6-B3C6-25468D07AE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60024" y="4784197"/>
            <a:ext cx="1500910" cy="393321"/>
          </a:xfrm>
          <a:prstGeom prst="rect">
            <a:avLst/>
          </a:prstGeom>
          <a:solidFill>
            <a:srgbClr val="808080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</p:spPr>
        <p:txBody>
          <a:bodyPr lIns="0" rIns="0" anchor="ctr">
            <a:noAutofit/>
          </a:bodyPr>
          <a:lstStyle/>
          <a:p>
            <a:pPr algn="ctr" defTabSz="913943" rtl="0">
              <a:spcBef>
                <a:spcPct val="50000"/>
              </a:spcBef>
              <a:defRPr/>
            </a:pPr>
            <a:r>
              <a:rPr lang="en-US" sz="1097" b="1" dirty="0">
                <a:solidFill>
                  <a:srgbClr val="2E2E38"/>
                </a:solidFill>
                <a:latin typeface="EYInterstate Light"/>
                <a:ea typeface="+mn-ea"/>
                <a:cs typeface="+mn-cs"/>
              </a:rPr>
              <a:t>Audit</a:t>
            </a:r>
          </a:p>
        </p:txBody>
      </p:sp>
      <p:sp>
        <p:nvSpPr>
          <p:cNvPr id="45" name="Text Box 4143">
            <a:extLst>
              <a:ext uri="{FF2B5EF4-FFF2-40B4-BE49-F238E27FC236}">
                <a16:creationId xmlns:a16="http://schemas.microsoft.com/office/drawing/2014/main" id="{45F69631-37B0-67D8-30EF-16650BDCFE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34663" y="4784197"/>
            <a:ext cx="1500910" cy="393321"/>
          </a:xfrm>
          <a:prstGeom prst="rect">
            <a:avLst/>
          </a:prstGeom>
          <a:solidFill>
            <a:srgbClr val="808080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</p:spPr>
        <p:txBody>
          <a:bodyPr lIns="0" rIns="0" anchor="ctr">
            <a:noAutofit/>
          </a:bodyPr>
          <a:lstStyle/>
          <a:p>
            <a:pPr algn="ctr" defTabSz="913943" rtl="0">
              <a:spcBef>
                <a:spcPct val="50000"/>
              </a:spcBef>
              <a:defRPr/>
            </a:pPr>
            <a:r>
              <a:rPr lang="en-US" sz="1097" b="1" dirty="0">
                <a:solidFill>
                  <a:srgbClr val="2E2E38"/>
                </a:solidFill>
                <a:latin typeface="EYInterstate Light"/>
                <a:ea typeface="+mn-ea"/>
                <a:cs typeface="+mn-cs"/>
              </a:rPr>
              <a:t>Tax &amp; Legal</a:t>
            </a:r>
          </a:p>
        </p:txBody>
      </p:sp>
      <p:sp>
        <p:nvSpPr>
          <p:cNvPr id="46" name="Text Box 4143">
            <a:extLst>
              <a:ext uri="{FF2B5EF4-FFF2-40B4-BE49-F238E27FC236}">
                <a16:creationId xmlns:a16="http://schemas.microsoft.com/office/drawing/2014/main" id="{BCB593B1-D6AF-DB83-4C75-8C5F170FCA8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37111" y="4784197"/>
            <a:ext cx="1500910" cy="393321"/>
          </a:xfrm>
          <a:prstGeom prst="rect">
            <a:avLst/>
          </a:prstGeom>
          <a:solidFill>
            <a:srgbClr val="808080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</p:spPr>
        <p:txBody>
          <a:bodyPr lIns="0" rIns="0" anchor="ctr">
            <a:noAutofit/>
          </a:bodyPr>
          <a:lstStyle/>
          <a:p>
            <a:pPr algn="ctr" defTabSz="913943" rtl="0">
              <a:spcBef>
                <a:spcPct val="50000"/>
              </a:spcBef>
              <a:defRPr/>
            </a:pPr>
            <a:r>
              <a:rPr lang="en-US" sz="1097" b="1" dirty="0">
                <a:solidFill>
                  <a:srgbClr val="2E2E38"/>
                </a:solidFill>
                <a:latin typeface="EYInterstate Light"/>
                <a:ea typeface="+mn-ea"/>
                <a:cs typeface="+mn-cs"/>
              </a:rPr>
              <a:t>Strategy &amp; Transactions</a:t>
            </a:r>
          </a:p>
        </p:txBody>
      </p:sp>
      <p:sp>
        <p:nvSpPr>
          <p:cNvPr id="47" name="Text Box 4143">
            <a:extLst>
              <a:ext uri="{FF2B5EF4-FFF2-40B4-BE49-F238E27FC236}">
                <a16:creationId xmlns:a16="http://schemas.microsoft.com/office/drawing/2014/main" id="{A8FB1C7D-63B4-0F37-8EEB-215051CEE8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90354" y="4784197"/>
            <a:ext cx="1500910" cy="393321"/>
          </a:xfrm>
          <a:prstGeom prst="rect">
            <a:avLst/>
          </a:prstGeom>
          <a:solidFill>
            <a:srgbClr val="808080">
              <a:lumMod val="20000"/>
              <a:lumOff val="80000"/>
            </a:srgbClr>
          </a:solidFill>
          <a:ln w="9525">
            <a:noFill/>
            <a:miter lim="800000"/>
            <a:headEnd/>
            <a:tailEnd/>
          </a:ln>
        </p:spPr>
        <p:txBody>
          <a:bodyPr lIns="0" rIns="0" anchor="ctr">
            <a:noAutofit/>
          </a:bodyPr>
          <a:lstStyle/>
          <a:p>
            <a:pPr algn="ctr" defTabSz="913943" rtl="0">
              <a:spcBef>
                <a:spcPct val="50000"/>
              </a:spcBef>
              <a:defRPr/>
            </a:pPr>
            <a:r>
              <a:rPr lang="en-US" sz="1097" b="1" dirty="0">
                <a:solidFill>
                  <a:srgbClr val="2E2E38"/>
                </a:solidFill>
                <a:latin typeface="EYInterstate Light"/>
                <a:ea typeface="+mn-ea"/>
                <a:cs typeface="+mn-cs"/>
              </a:rPr>
              <a:t>Consulting</a:t>
            </a:r>
          </a:p>
        </p:txBody>
      </p:sp>
      <p:sp>
        <p:nvSpPr>
          <p:cNvPr id="48" name="object 45">
            <a:extLst>
              <a:ext uri="{FF2B5EF4-FFF2-40B4-BE49-F238E27FC236}">
                <a16:creationId xmlns:a16="http://schemas.microsoft.com/office/drawing/2014/main" id="{4B0C818B-2578-B6BE-A44C-5F400AA75454}"/>
              </a:ext>
            </a:extLst>
          </p:cNvPr>
          <p:cNvSpPr txBox="1"/>
          <p:nvPr/>
        </p:nvSpPr>
        <p:spPr>
          <a:xfrm>
            <a:off x="362513" y="5080739"/>
            <a:ext cx="1303428" cy="9367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algn="l" rtl="0">
              <a:spcBef>
                <a:spcPts val="105"/>
              </a:spcBef>
            </a:pPr>
            <a:r>
              <a:rPr sz="3200" kern="1200" spc="-25" dirty="0">
                <a:solidFill>
                  <a:srgbClr val="FFE600"/>
                </a:solidFill>
                <a:latin typeface="EYInterstate-Light"/>
                <a:ea typeface="+mn-ea"/>
                <a:cs typeface="EYInterstate-Light"/>
              </a:rPr>
              <a:t>7.3%</a:t>
            </a:r>
            <a:endParaRPr sz="3200" kern="1200" dirty="0">
              <a:solidFill>
                <a:srgbClr val="F6F6FA"/>
              </a:solidFill>
              <a:latin typeface="EYInterstate-Light"/>
              <a:ea typeface="+mn-ea"/>
              <a:cs typeface="EYInterstate-Light"/>
            </a:endParaRPr>
          </a:p>
          <a:p>
            <a:pPr marL="12700" marR="5080" algn="l" rtl="0">
              <a:spcBef>
                <a:spcPts val="15"/>
              </a:spcBef>
            </a:pPr>
            <a:r>
              <a:rPr sz="1400" kern="1200" spc="-5" dirty="0">
                <a:solidFill>
                  <a:srgbClr val="FFFFFF"/>
                </a:solidFill>
                <a:latin typeface="EYInterstate-Light"/>
                <a:ea typeface="+mn-ea"/>
                <a:cs typeface="EYInterstate-Light"/>
              </a:rPr>
              <a:t>7</a:t>
            </a:r>
            <a:r>
              <a:rPr sz="1400" kern="1200" spc="-10" dirty="0">
                <a:solidFill>
                  <a:srgbClr val="FFFFFF"/>
                </a:solidFill>
                <a:latin typeface="EYInterstate-Light"/>
                <a:ea typeface="+mn-ea"/>
                <a:cs typeface="EYInterstate-Light"/>
              </a:rPr>
              <a:t>-</a:t>
            </a:r>
            <a:r>
              <a:rPr sz="1400" kern="1200" spc="-5" dirty="0">
                <a:solidFill>
                  <a:srgbClr val="FFFFFF"/>
                </a:solidFill>
                <a:latin typeface="EYInterstate-Light"/>
                <a:ea typeface="+mn-ea"/>
                <a:cs typeface="EYInterstate-Light"/>
              </a:rPr>
              <a:t>year</a:t>
            </a:r>
            <a:r>
              <a:rPr sz="1400" kern="1200" spc="-10" dirty="0">
                <a:solidFill>
                  <a:srgbClr val="FFFFFF"/>
                </a:solidFill>
                <a:latin typeface="EYInterstate-Light"/>
                <a:ea typeface="+mn-ea"/>
                <a:cs typeface="EYInterstate-Light"/>
              </a:rPr>
              <a:t> rev</a:t>
            </a:r>
            <a:r>
              <a:rPr sz="1400" kern="1200" spc="-5" dirty="0">
                <a:solidFill>
                  <a:srgbClr val="FFFFFF"/>
                </a:solidFill>
                <a:latin typeface="EYInterstate-Light"/>
                <a:ea typeface="+mn-ea"/>
                <a:cs typeface="EYInterstate-Light"/>
              </a:rPr>
              <a:t>enue  CAGR</a:t>
            </a:r>
            <a:endParaRPr sz="1400" kern="1200" dirty="0">
              <a:solidFill>
                <a:srgbClr val="F6F6FA"/>
              </a:solidFill>
              <a:latin typeface="EYInterstate-Light"/>
              <a:ea typeface="+mn-ea"/>
              <a:cs typeface="EYInterstate-Light"/>
            </a:endParaRPr>
          </a:p>
        </p:txBody>
      </p:sp>
      <p:sp>
        <p:nvSpPr>
          <p:cNvPr id="49" name="object 45">
            <a:extLst>
              <a:ext uri="{FF2B5EF4-FFF2-40B4-BE49-F238E27FC236}">
                <a16:creationId xmlns:a16="http://schemas.microsoft.com/office/drawing/2014/main" id="{7CD177B4-EC97-EA6B-53C1-FAF09B2CA8A7}"/>
              </a:ext>
            </a:extLst>
          </p:cNvPr>
          <p:cNvSpPr txBox="1"/>
          <p:nvPr/>
        </p:nvSpPr>
        <p:spPr>
          <a:xfrm>
            <a:off x="362513" y="3936637"/>
            <a:ext cx="2152380" cy="72135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algn="l" rtl="0">
              <a:spcBef>
                <a:spcPts val="105"/>
              </a:spcBef>
            </a:pPr>
            <a:r>
              <a:rPr lang="fr-FR" sz="3200" kern="1200" spc="-25" dirty="0">
                <a:solidFill>
                  <a:srgbClr val="FFE600"/>
                </a:solidFill>
                <a:latin typeface="EYInterstate-Light"/>
                <a:ea typeface="+mn-ea"/>
                <a:cs typeface="EYInterstate-Light"/>
              </a:rPr>
              <a:t>$50 billion</a:t>
            </a:r>
            <a:endParaRPr lang="fr-FR" sz="3200" kern="1200" dirty="0">
              <a:solidFill>
                <a:srgbClr val="F6F6FA"/>
              </a:solidFill>
              <a:latin typeface="EYInterstate-Light"/>
              <a:ea typeface="+mn-ea"/>
              <a:cs typeface="EYInterstate-Light"/>
            </a:endParaRPr>
          </a:p>
          <a:p>
            <a:pPr marL="12700" marR="5080" algn="l" rtl="0">
              <a:spcBef>
                <a:spcPts val="15"/>
              </a:spcBef>
            </a:pPr>
            <a:r>
              <a:rPr lang="fr-FR" sz="1400" kern="1200" spc="-5" dirty="0">
                <a:solidFill>
                  <a:srgbClr val="FFFFFF"/>
                </a:solidFill>
                <a:latin typeface="EYInterstate-Light"/>
                <a:ea typeface="+mn-ea"/>
                <a:cs typeface="EYInterstate-Light"/>
              </a:rPr>
              <a:t>revenue</a:t>
            </a:r>
            <a:endParaRPr lang="fr-FR" sz="1400" kern="1200" dirty="0">
              <a:solidFill>
                <a:srgbClr val="F6F6FA"/>
              </a:solidFill>
              <a:latin typeface="EYInterstate-Light"/>
              <a:ea typeface="+mn-ea"/>
              <a:cs typeface="EYInterstate-Light"/>
            </a:endParaRPr>
          </a:p>
        </p:txBody>
      </p:sp>
      <p:sp>
        <p:nvSpPr>
          <p:cNvPr id="50" name="ZoneTexte 43">
            <a:extLst>
              <a:ext uri="{FF2B5EF4-FFF2-40B4-BE49-F238E27FC236}">
                <a16:creationId xmlns:a16="http://schemas.microsoft.com/office/drawing/2014/main" id="{46214F7B-441D-C4E6-50E1-74A8E446F03E}"/>
              </a:ext>
            </a:extLst>
          </p:cNvPr>
          <p:cNvSpPr txBox="1"/>
          <p:nvPr/>
        </p:nvSpPr>
        <p:spPr>
          <a:xfrm>
            <a:off x="4660151" y="5285087"/>
            <a:ext cx="1289485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fr-FR" sz="1000" kern="1200" dirty="0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Leader in Innovation Consulting Services in 2024 The Forrester </a:t>
            </a:r>
            <a:r>
              <a:rPr lang="fr-FR" sz="1000" kern="1200" dirty="0" err="1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Wave</a:t>
            </a:r>
            <a:endParaRPr lang="fr-FR" sz="1000" kern="1200" dirty="0">
              <a:solidFill>
                <a:srgbClr val="C4C4CD"/>
              </a:solidFill>
              <a:latin typeface="EYInterstate Light"/>
              <a:ea typeface="+mn-ea"/>
              <a:cs typeface="+mn-cs"/>
            </a:endParaRPr>
          </a:p>
          <a:p>
            <a:pPr algn="l" rtl="0"/>
            <a:r>
              <a:rPr lang="fr-FR" sz="1000" kern="1200" dirty="0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 </a:t>
            </a:r>
          </a:p>
        </p:txBody>
      </p:sp>
      <p:sp>
        <p:nvSpPr>
          <p:cNvPr id="51" name="ZoneTexte 56">
            <a:extLst>
              <a:ext uri="{FF2B5EF4-FFF2-40B4-BE49-F238E27FC236}">
                <a16:creationId xmlns:a16="http://schemas.microsoft.com/office/drawing/2014/main" id="{FEEB8D24-64DE-B592-5202-1F95860F26B0}"/>
              </a:ext>
            </a:extLst>
          </p:cNvPr>
          <p:cNvSpPr txBox="1"/>
          <p:nvPr/>
        </p:nvSpPr>
        <p:spPr>
          <a:xfrm>
            <a:off x="6635165" y="5285087"/>
            <a:ext cx="1289485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fr-FR" sz="1000" kern="1200" dirty="0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Leader in 2022 </a:t>
            </a:r>
            <a:r>
              <a:rPr lang="fr-FR" sz="1000" kern="1200" dirty="0" err="1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Mergermarket</a:t>
            </a:r>
            <a:r>
              <a:rPr lang="fr-FR" sz="1000" kern="1200" dirty="0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 </a:t>
            </a:r>
            <a:r>
              <a:rPr lang="fr-FR" sz="1000" kern="1200" dirty="0" err="1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European</a:t>
            </a:r>
            <a:r>
              <a:rPr lang="fr-FR" sz="1000" kern="1200" dirty="0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 </a:t>
            </a:r>
            <a:r>
              <a:rPr lang="fr-FR" sz="1000" kern="1200" dirty="0" err="1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league</a:t>
            </a:r>
            <a:r>
              <a:rPr lang="fr-FR" sz="1000" kern="1200" dirty="0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 table value </a:t>
            </a:r>
            <a:r>
              <a:rPr lang="fr-FR" sz="1000" kern="1200" dirty="0" err="1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ranking</a:t>
            </a:r>
            <a:endParaRPr lang="fr-FR" sz="1000" kern="1200" dirty="0">
              <a:solidFill>
                <a:srgbClr val="C4C4CD"/>
              </a:solidFill>
              <a:latin typeface="EYInterstate Light"/>
              <a:ea typeface="+mn-ea"/>
              <a:cs typeface="+mn-cs"/>
            </a:endParaRPr>
          </a:p>
        </p:txBody>
      </p:sp>
      <p:sp>
        <p:nvSpPr>
          <p:cNvPr id="52" name="ZoneTexte 62">
            <a:extLst>
              <a:ext uri="{FF2B5EF4-FFF2-40B4-BE49-F238E27FC236}">
                <a16:creationId xmlns:a16="http://schemas.microsoft.com/office/drawing/2014/main" id="{8F492FD2-C8CD-7A17-E13F-92A66273D510}"/>
              </a:ext>
            </a:extLst>
          </p:cNvPr>
          <p:cNvSpPr txBox="1"/>
          <p:nvPr/>
        </p:nvSpPr>
        <p:spPr>
          <a:xfrm>
            <a:off x="2760025" y="5252594"/>
            <a:ext cx="1500909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>
              <a:buFont typeface="Arial" panose="020B0604020202020204" pitchFamily="34" charset="0"/>
              <a:buChar char="•"/>
            </a:pPr>
            <a:r>
              <a:rPr lang="fr-FR" sz="1000" kern="1200" dirty="0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 Leader in 2024</a:t>
            </a:r>
            <a:br>
              <a:rPr lang="fr-FR" sz="1000" kern="1200" dirty="0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</a:br>
            <a:r>
              <a:rPr lang="fr-FR" sz="1000" kern="1200" dirty="0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 </a:t>
            </a:r>
            <a:br>
              <a:rPr lang="fr-FR" sz="1000" kern="1200" dirty="0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</a:br>
            <a:r>
              <a:rPr lang="fr-FR" sz="1000" kern="1200" dirty="0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 - CAC 40 et SBF 120</a:t>
            </a:r>
          </a:p>
          <a:p>
            <a:pPr algn="l" rtl="0"/>
            <a:r>
              <a:rPr lang="fr-FR" sz="1000" kern="1200" dirty="0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 - Forbes Global 2000</a:t>
            </a:r>
          </a:p>
          <a:p>
            <a:pPr algn="l" rtl="0"/>
            <a:r>
              <a:rPr lang="fr-FR" sz="1000" kern="1200" dirty="0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 - Russell 3000</a:t>
            </a:r>
          </a:p>
          <a:p>
            <a:pPr algn="l" rtl="0"/>
            <a:endParaRPr lang="fr-FR" sz="1000" kern="1200" dirty="0">
              <a:solidFill>
                <a:srgbClr val="C4C4CD"/>
              </a:solidFill>
              <a:latin typeface="EYInterstate Light"/>
              <a:ea typeface="+mn-ea"/>
              <a:cs typeface="+mn-cs"/>
            </a:endParaRPr>
          </a:p>
          <a:p>
            <a:pPr algn="l" rtl="0">
              <a:buFont typeface="Arial" panose="020B0604020202020204" pitchFamily="34" charset="0"/>
              <a:buChar char="•"/>
            </a:pPr>
            <a:r>
              <a:rPr lang="fr-FR" sz="1000" kern="1200" dirty="0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 Leader in </a:t>
            </a:r>
            <a:r>
              <a:rPr lang="fr-FR" sz="1000" kern="1200" dirty="0" err="1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Verdantix</a:t>
            </a:r>
            <a:r>
              <a:rPr lang="fr-FR" sz="1000" kern="1200" dirty="0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 Green Quadrant</a:t>
            </a:r>
          </a:p>
        </p:txBody>
      </p:sp>
      <p:sp>
        <p:nvSpPr>
          <p:cNvPr id="53" name="ZoneTexte 63">
            <a:extLst>
              <a:ext uri="{FF2B5EF4-FFF2-40B4-BE49-F238E27FC236}">
                <a16:creationId xmlns:a16="http://schemas.microsoft.com/office/drawing/2014/main" id="{CF15B370-041C-4E16-88D2-E7A2C16E0904}"/>
              </a:ext>
            </a:extLst>
          </p:cNvPr>
          <p:cNvSpPr txBox="1"/>
          <p:nvPr/>
        </p:nvSpPr>
        <p:spPr>
          <a:xfrm>
            <a:off x="8344851" y="5285087"/>
            <a:ext cx="1289485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fr-FR" sz="1000" kern="1200" dirty="0" err="1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America’s</a:t>
            </a:r>
            <a:r>
              <a:rPr lang="fr-FR" sz="1000" kern="1200" dirty="0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 Best Tax </a:t>
            </a:r>
            <a:r>
              <a:rPr lang="fr-FR" sz="1000" kern="1200" dirty="0" err="1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Firms</a:t>
            </a:r>
            <a:r>
              <a:rPr lang="fr-FR" sz="1000" kern="1200" dirty="0">
                <a:solidFill>
                  <a:srgbClr val="C4C4CD"/>
                </a:solidFill>
                <a:latin typeface="EYInterstate Light"/>
                <a:ea typeface="+mn-ea"/>
                <a:cs typeface="+mn-cs"/>
              </a:rPr>
              <a:t> for 2022 by Forbes</a:t>
            </a:r>
          </a:p>
        </p:txBody>
      </p:sp>
      <p:sp>
        <p:nvSpPr>
          <p:cNvPr id="54" name="object 18">
            <a:extLst>
              <a:ext uri="{FF2B5EF4-FFF2-40B4-BE49-F238E27FC236}">
                <a16:creationId xmlns:a16="http://schemas.microsoft.com/office/drawing/2014/main" id="{F7383B01-1996-3632-9FEC-F32AE20F4994}"/>
              </a:ext>
            </a:extLst>
          </p:cNvPr>
          <p:cNvSpPr txBox="1"/>
          <p:nvPr/>
        </p:nvSpPr>
        <p:spPr>
          <a:xfrm>
            <a:off x="9618027" y="1680482"/>
            <a:ext cx="2409190" cy="247503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l" rtl="0">
              <a:spcBef>
                <a:spcPts val="15"/>
              </a:spcBef>
            </a:pPr>
            <a:r>
              <a:rPr lang="fr-FR" sz="3200" kern="1200" spc="-5" dirty="0">
                <a:solidFill>
                  <a:srgbClr val="FFE600"/>
                </a:solidFill>
                <a:latin typeface="EYInterstate-Light"/>
                <a:ea typeface="+mn-ea"/>
                <a:cs typeface="EYInterstate-Light"/>
              </a:rPr>
              <a:t>French Business Network</a:t>
            </a:r>
            <a:br>
              <a:rPr lang="fr-FR" sz="1600" i="1" kern="1200" spc="-5" dirty="0">
                <a:solidFill>
                  <a:srgbClr val="FFE600"/>
                </a:solidFill>
                <a:latin typeface="EYInterstate-Light"/>
                <a:ea typeface="+mn-ea"/>
                <a:cs typeface="EYInterstate-Light"/>
              </a:rPr>
            </a:br>
            <a:r>
              <a:rPr lang="fr-FR" sz="1600" kern="1200" spc="-5" dirty="0">
                <a:solidFill>
                  <a:srgbClr val="F6F6FA"/>
                </a:solidFill>
                <a:latin typeface="EYInterstate-Light"/>
                <a:ea typeface="+mn-ea"/>
                <a:cs typeface="EYInterstate-Light"/>
              </a:rPr>
              <a:t>300 French </a:t>
            </a:r>
            <a:r>
              <a:rPr lang="fr-FR" sz="1600" kern="1200" spc="-5" dirty="0" err="1">
                <a:solidFill>
                  <a:srgbClr val="F6F6FA"/>
                </a:solidFill>
                <a:latin typeface="EYInterstate-Light"/>
                <a:ea typeface="+mn-ea"/>
                <a:cs typeface="EYInterstate-Light"/>
              </a:rPr>
              <a:t>professionals</a:t>
            </a:r>
            <a:r>
              <a:rPr lang="fr-FR" sz="1600" kern="1200" spc="-5" dirty="0">
                <a:solidFill>
                  <a:srgbClr val="F6F6FA"/>
                </a:solidFill>
                <a:latin typeface="EYInterstate-Light"/>
                <a:ea typeface="+mn-ea"/>
                <a:cs typeface="EYInterstate-Light"/>
              </a:rPr>
              <a:t> </a:t>
            </a:r>
            <a:r>
              <a:rPr lang="fr-FR" sz="1600" kern="1200" spc="-5" dirty="0" err="1">
                <a:solidFill>
                  <a:srgbClr val="FFFFFF"/>
                </a:solidFill>
                <a:latin typeface="EYInterstate-Light"/>
                <a:ea typeface="+mn-ea"/>
                <a:cs typeface="EYInterstate-Light"/>
              </a:rPr>
              <a:t>serving</a:t>
            </a:r>
            <a:r>
              <a:rPr lang="fr-FR" sz="1600" kern="1200" spc="-5" dirty="0">
                <a:solidFill>
                  <a:srgbClr val="FFFFFF"/>
                </a:solidFill>
                <a:latin typeface="EYInterstate-Light"/>
                <a:ea typeface="+mn-ea"/>
                <a:cs typeface="EYInterstate-Light"/>
              </a:rPr>
              <a:t> the key french international groups</a:t>
            </a:r>
          </a:p>
          <a:p>
            <a:pPr marL="12700" marR="5080" algn="l" rtl="0">
              <a:spcBef>
                <a:spcPts val="15"/>
              </a:spcBef>
            </a:pPr>
            <a:endParaRPr lang="fr-FR" sz="1600" i="1" kern="1200" dirty="0">
              <a:solidFill>
                <a:srgbClr val="FFE600"/>
              </a:solidFill>
              <a:latin typeface="EYInterstate-Light"/>
              <a:ea typeface="+mn-ea"/>
              <a:cs typeface="EYInterstate-Light"/>
            </a:endParaRPr>
          </a:p>
        </p:txBody>
      </p:sp>
      <p:sp>
        <p:nvSpPr>
          <p:cNvPr id="56" name="Rectangle 776">
            <a:extLst>
              <a:ext uri="{FF2B5EF4-FFF2-40B4-BE49-F238E27FC236}">
                <a16:creationId xmlns:a16="http://schemas.microsoft.com/office/drawing/2014/main" id="{F622F126-D778-AA8E-5E7E-6FB811459D31}"/>
              </a:ext>
            </a:extLst>
          </p:cNvPr>
          <p:cNvSpPr/>
          <p:nvPr/>
        </p:nvSpPr>
        <p:spPr>
          <a:xfrm>
            <a:off x="517678" y="255653"/>
            <a:ext cx="11036793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/>
            <a:r>
              <a:rPr lang="fr-FR" sz="2000" b="0" i="0" spc="0" baseline="0" dirty="0">
                <a:solidFill>
                  <a:srgbClr val="FFFFFF"/>
                </a:solidFill>
                <a:latin typeface="Arial"/>
              </a:rPr>
              <a:t>Focus on the Big 4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0" cap="none" spc="0" normalizeH="0" baseline="0" noProof="0" dirty="0">
                <a:ln>
                  <a:noFill/>
                </a:ln>
                <a:solidFill>
                  <a:srgbClr val="9BBB59"/>
                </a:solidFill>
                <a:effectLst/>
                <a:uLnTx/>
                <a:uFillTx/>
                <a:latin typeface="EYInterstate Light" panose="02000506000000020004" pitchFamily="2" charset="0"/>
              </a:rPr>
              <a:t>EY</a:t>
            </a:r>
            <a:r>
              <a:rPr kumimoji="0" lang="fr-FR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</a:rPr>
              <a:t> </a:t>
            </a:r>
            <a:r>
              <a:rPr kumimoji="0" lang="fr-FR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</a:rPr>
              <a:t>a global </a:t>
            </a:r>
            <a:r>
              <a:rPr kumimoji="0" lang="fr-FR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</a:rPr>
              <a:t>professional</a:t>
            </a:r>
            <a:r>
              <a:rPr kumimoji="0" lang="fr-FR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</a:rPr>
              <a:t> service </a:t>
            </a:r>
            <a:r>
              <a:rPr kumimoji="0" lang="fr-FR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</a:rPr>
              <a:t>organization</a:t>
            </a:r>
            <a:r>
              <a:rPr kumimoji="0" lang="fr-FR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</a:rPr>
              <a:t> </a:t>
            </a:r>
            <a:r>
              <a:rPr kumimoji="0" lang="fr-FR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</a:rPr>
              <a:t>gathering</a:t>
            </a:r>
            <a:r>
              <a:rPr kumimoji="0" lang="fr-FR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</a:rPr>
              <a:t> </a:t>
            </a:r>
            <a:r>
              <a:rPr kumimoji="0" lang="fr-FR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</a:rPr>
              <a:t>various</a:t>
            </a:r>
            <a:r>
              <a:rPr kumimoji="0" lang="fr-FR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</a:rPr>
              <a:t> expertise to </a:t>
            </a:r>
            <a:r>
              <a:rPr kumimoji="0" lang="fr-FR" sz="20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</a:rPr>
              <a:t>be</a:t>
            </a:r>
            <a:r>
              <a:rPr lang="fr-FR" sz="2000" dirty="0" err="1">
                <a:solidFill>
                  <a:srgbClr val="FFFFFF"/>
                </a:solidFill>
                <a:latin typeface="EYInterstate Light" panose="02000506000000020004" pitchFamily="2" charset="0"/>
              </a:rPr>
              <a:t>tter</a:t>
            </a:r>
            <a:r>
              <a:rPr lang="fr-FR" sz="2000" dirty="0">
                <a:solidFill>
                  <a:srgbClr val="FFFFFF"/>
                </a:solidFill>
                <a:latin typeface="EYInterstate Light" panose="02000506000000020004" pitchFamily="2" charset="0"/>
              </a:rPr>
              <a:t> serve </a:t>
            </a:r>
            <a:r>
              <a:rPr lang="fr-FR" sz="2000" dirty="0" err="1">
                <a:solidFill>
                  <a:srgbClr val="FFFFFF"/>
                </a:solidFill>
                <a:latin typeface="EYInterstate Light" panose="02000506000000020004" pitchFamily="2" charset="0"/>
              </a:rPr>
              <a:t>our</a:t>
            </a:r>
            <a:r>
              <a:rPr lang="fr-FR" sz="2000" dirty="0">
                <a:solidFill>
                  <a:srgbClr val="FFFFFF"/>
                </a:solidFill>
                <a:latin typeface="EYInterstate Light" panose="02000506000000020004" pitchFamily="2" charset="0"/>
              </a:rPr>
              <a:t> clients</a:t>
            </a:r>
            <a:endParaRPr kumimoji="0" lang="fr-FR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1699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Freeform 388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389" name="Picture 389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677150" y="0"/>
            <a:ext cx="4514850" cy="6858000"/>
          </a:xfrm>
          <a:prstGeom prst="rect">
            <a:avLst/>
          </a:prstGeom>
          <a:noFill/>
        </p:spPr>
      </p:pic>
      <p:sp>
        <p:nvSpPr>
          <p:cNvPr id="390" name="Freeform 390"/>
          <p:cNvSpPr/>
          <p:nvPr/>
        </p:nvSpPr>
        <p:spPr>
          <a:xfrm>
            <a:off x="9124950" y="3121279"/>
            <a:ext cx="339217" cy="78741"/>
          </a:xfrm>
          <a:custGeom>
            <a:avLst/>
            <a:gdLst/>
            <a:ahLst/>
            <a:cxnLst/>
            <a:rect l="0" t="0" r="0" b="0"/>
            <a:pathLst>
              <a:path w="339217" h="78741">
                <a:moveTo>
                  <a:pt x="339217" y="54611"/>
                </a:moveTo>
                <a:lnTo>
                  <a:pt x="319023" y="20829"/>
                </a:lnTo>
                <a:lnTo>
                  <a:pt x="270891" y="13336"/>
                </a:lnTo>
                <a:lnTo>
                  <a:pt x="222504" y="7493"/>
                </a:lnTo>
                <a:lnTo>
                  <a:pt x="174117" y="3302"/>
                </a:lnTo>
                <a:lnTo>
                  <a:pt x="125603" y="762"/>
                </a:lnTo>
                <a:lnTo>
                  <a:pt x="76834" y="0"/>
                </a:lnTo>
                <a:lnTo>
                  <a:pt x="28067" y="762"/>
                </a:lnTo>
                <a:lnTo>
                  <a:pt x="6984" y="11050"/>
                </a:lnTo>
                <a:lnTo>
                  <a:pt x="0" y="31877"/>
                </a:lnTo>
                <a:lnTo>
                  <a:pt x="6984" y="52198"/>
                </a:lnTo>
                <a:lnTo>
                  <a:pt x="28067" y="60706"/>
                </a:lnTo>
                <a:lnTo>
                  <a:pt x="83439" y="59691"/>
                </a:lnTo>
                <a:lnTo>
                  <a:pt x="138683" y="60961"/>
                </a:lnTo>
                <a:lnTo>
                  <a:pt x="193802" y="64517"/>
                </a:lnTo>
                <a:lnTo>
                  <a:pt x="248666" y="70358"/>
                </a:lnTo>
                <a:lnTo>
                  <a:pt x="303276" y="78741"/>
                </a:lnTo>
                <a:lnTo>
                  <a:pt x="326770" y="73280"/>
                </a:lnTo>
                <a:lnTo>
                  <a:pt x="339217" y="54611"/>
                </a:lnTo>
                <a:close/>
                <a:moveTo>
                  <a:pt x="-5442840" y="3736721"/>
                </a:moveTo>
              </a:path>
            </a:pathLst>
          </a:custGeom>
          <a:solidFill>
            <a:srgbClr val="EBBD1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91" name="Freeform 391"/>
          <p:cNvSpPr/>
          <p:nvPr/>
        </p:nvSpPr>
        <p:spPr>
          <a:xfrm>
            <a:off x="9341739" y="2752725"/>
            <a:ext cx="252221" cy="266066"/>
          </a:xfrm>
          <a:custGeom>
            <a:avLst/>
            <a:gdLst/>
            <a:ahLst/>
            <a:cxnLst/>
            <a:rect l="0" t="0" r="0" b="0"/>
            <a:pathLst>
              <a:path w="252221" h="266066">
                <a:moveTo>
                  <a:pt x="252221" y="236855"/>
                </a:moveTo>
                <a:lnTo>
                  <a:pt x="242696" y="215647"/>
                </a:lnTo>
                <a:lnTo>
                  <a:pt x="207771" y="183135"/>
                </a:lnTo>
                <a:lnTo>
                  <a:pt x="173863" y="149734"/>
                </a:lnTo>
                <a:lnTo>
                  <a:pt x="140969" y="115316"/>
                </a:lnTo>
                <a:lnTo>
                  <a:pt x="109092" y="79884"/>
                </a:lnTo>
                <a:lnTo>
                  <a:pt x="78358" y="43435"/>
                </a:lnTo>
                <a:lnTo>
                  <a:pt x="48514" y="5970"/>
                </a:lnTo>
                <a:lnTo>
                  <a:pt x="36956" y="0"/>
                </a:lnTo>
                <a:lnTo>
                  <a:pt x="19812" y="0"/>
                </a:lnTo>
                <a:lnTo>
                  <a:pt x="9905" y="4699"/>
                </a:lnTo>
                <a:lnTo>
                  <a:pt x="0" y="24892"/>
                </a:lnTo>
                <a:lnTo>
                  <a:pt x="6604" y="48387"/>
                </a:lnTo>
                <a:lnTo>
                  <a:pt x="36449" y="85853"/>
                </a:lnTo>
                <a:lnTo>
                  <a:pt x="67309" y="122302"/>
                </a:lnTo>
                <a:lnTo>
                  <a:pt x="99314" y="157735"/>
                </a:lnTo>
                <a:lnTo>
                  <a:pt x="132206" y="192152"/>
                </a:lnTo>
                <a:lnTo>
                  <a:pt x="165989" y="225553"/>
                </a:lnTo>
                <a:lnTo>
                  <a:pt x="200787" y="258065"/>
                </a:lnTo>
                <a:lnTo>
                  <a:pt x="223519" y="266066"/>
                </a:lnTo>
                <a:lnTo>
                  <a:pt x="243204" y="256286"/>
                </a:lnTo>
                <a:lnTo>
                  <a:pt x="252221" y="236855"/>
                </a:lnTo>
                <a:close/>
                <a:moveTo>
                  <a:pt x="-5473319" y="4105275"/>
                </a:moveTo>
              </a:path>
            </a:pathLst>
          </a:custGeom>
          <a:solidFill>
            <a:srgbClr val="EBBD1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92" name="Freeform 392"/>
          <p:cNvSpPr/>
          <p:nvPr/>
        </p:nvSpPr>
        <p:spPr>
          <a:xfrm>
            <a:off x="9922764" y="2797556"/>
            <a:ext cx="280416" cy="227330"/>
          </a:xfrm>
          <a:custGeom>
            <a:avLst/>
            <a:gdLst/>
            <a:ahLst/>
            <a:cxnLst/>
            <a:rect l="0" t="0" r="0" b="0"/>
            <a:pathLst>
              <a:path w="280416" h="227330">
                <a:moveTo>
                  <a:pt x="280416" y="29210"/>
                </a:moveTo>
                <a:lnTo>
                  <a:pt x="271526" y="10160"/>
                </a:lnTo>
                <a:lnTo>
                  <a:pt x="251459" y="0"/>
                </a:lnTo>
                <a:lnTo>
                  <a:pt x="228218" y="6478"/>
                </a:lnTo>
                <a:lnTo>
                  <a:pt x="97408" y="109729"/>
                </a:lnTo>
                <a:lnTo>
                  <a:pt x="10287" y="178309"/>
                </a:lnTo>
                <a:lnTo>
                  <a:pt x="0" y="198374"/>
                </a:lnTo>
                <a:lnTo>
                  <a:pt x="8890" y="217298"/>
                </a:lnTo>
                <a:lnTo>
                  <a:pt x="28955" y="227330"/>
                </a:lnTo>
                <a:lnTo>
                  <a:pt x="52196" y="220727"/>
                </a:lnTo>
                <a:lnTo>
                  <a:pt x="270129" y="49023"/>
                </a:lnTo>
                <a:lnTo>
                  <a:pt x="280416" y="29210"/>
                </a:lnTo>
                <a:close/>
                <a:moveTo>
                  <a:pt x="-5891530" y="4060444"/>
                </a:moveTo>
              </a:path>
            </a:pathLst>
          </a:custGeom>
          <a:solidFill>
            <a:srgbClr val="EBBD1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93" name="Freeform 393"/>
          <p:cNvSpPr/>
          <p:nvPr/>
        </p:nvSpPr>
        <p:spPr>
          <a:xfrm>
            <a:off x="10090911" y="3076703"/>
            <a:ext cx="319786" cy="73406"/>
          </a:xfrm>
          <a:custGeom>
            <a:avLst/>
            <a:gdLst/>
            <a:ahLst/>
            <a:cxnLst/>
            <a:rect l="0" t="0" r="0" b="0"/>
            <a:pathLst>
              <a:path w="319786" h="73406">
                <a:moveTo>
                  <a:pt x="319786" y="24764"/>
                </a:moveTo>
                <a:lnTo>
                  <a:pt x="307341" y="5969"/>
                </a:lnTo>
                <a:lnTo>
                  <a:pt x="283972" y="0"/>
                </a:lnTo>
                <a:lnTo>
                  <a:pt x="233045" y="5969"/>
                </a:lnTo>
                <a:lnTo>
                  <a:pt x="181992" y="10287"/>
                </a:lnTo>
                <a:lnTo>
                  <a:pt x="130937" y="12700"/>
                </a:lnTo>
                <a:lnTo>
                  <a:pt x="79757" y="13715"/>
                </a:lnTo>
                <a:lnTo>
                  <a:pt x="28575" y="12953"/>
                </a:lnTo>
                <a:lnTo>
                  <a:pt x="7240" y="21717"/>
                </a:lnTo>
                <a:lnTo>
                  <a:pt x="0" y="42163"/>
                </a:lnTo>
                <a:lnTo>
                  <a:pt x="7240" y="62992"/>
                </a:lnTo>
                <a:lnTo>
                  <a:pt x="28575" y="72897"/>
                </a:lnTo>
                <a:lnTo>
                  <a:pt x="82932" y="73406"/>
                </a:lnTo>
                <a:lnTo>
                  <a:pt x="137160" y="72136"/>
                </a:lnTo>
                <a:lnTo>
                  <a:pt x="191390" y="68961"/>
                </a:lnTo>
                <a:lnTo>
                  <a:pt x="245619" y="64007"/>
                </a:lnTo>
                <a:lnTo>
                  <a:pt x="299720" y="57403"/>
                </a:lnTo>
                <a:lnTo>
                  <a:pt x="318262" y="45465"/>
                </a:lnTo>
                <a:lnTo>
                  <a:pt x="319786" y="24764"/>
                </a:lnTo>
                <a:close/>
                <a:moveTo>
                  <a:pt x="-6334378" y="3781297"/>
                </a:moveTo>
              </a:path>
            </a:pathLst>
          </a:custGeom>
          <a:solidFill>
            <a:srgbClr val="EBBD1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394" name="Picture 394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382125" y="3409950"/>
            <a:ext cx="142875" cy="247650"/>
          </a:xfrm>
          <a:prstGeom prst="rect">
            <a:avLst/>
          </a:prstGeom>
          <a:noFill/>
        </p:spPr>
      </p:pic>
      <p:pic>
        <p:nvPicPr>
          <p:cNvPr id="395" name="Picture 395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125075" y="3467100"/>
            <a:ext cx="142875" cy="209550"/>
          </a:xfrm>
          <a:prstGeom prst="rect">
            <a:avLst/>
          </a:prstGeom>
          <a:noFill/>
        </p:spPr>
      </p:pic>
      <p:sp>
        <p:nvSpPr>
          <p:cNvPr id="396" name="Freeform 396"/>
          <p:cNvSpPr/>
          <p:nvPr/>
        </p:nvSpPr>
        <p:spPr>
          <a:xfrm>
            <a:off x="666750" y="1685914"/>
            <a:ext cx="971041" cy="56908"/>
          </a:xfrm>
          <a:custGeom>
            <a:avLst/>
            <a:gdLst/>
            <a:ahLst/>
            <a:cxnLst/>
            <a:rect l="0" t="0" r="0" b="0"/>
            <a:pathLst>
              <a:path w="971041" h="56908">
                <a:moveTo>
                  <a:pt x="0" y="56908"/>
                </a:moveTo>
                <a:lnTo>
                  <a:pt x="971041" y="56908"/>
                </a:lnTo>
                <a:lnTo>
                  <a:pt x="971041" y="0"/>
                </a:lnTo>
                <a:lnTo>
                  <a:pt x="0" y="0"/>
                </a:lnTo>
                <a:lnTo>
                  <a:pt x="0" y="56908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97" name="Freeform 397"/>
          <p:cNvSpPr/>
          <p:nvPr/>
        </p:nvSpPr>
        <p:spPr>
          <a:xfrm>
            <a:off x="671512" y="1690740"/>
            <a:ext cx="971042" cy="56907"/>
          </a:xfrm>
          <a:custGeom>
            <a:avLst/>
            <a:gdLst/>
            <a:ahLst/>
            <a:cxnLst/>
            <a:rect l="0" t="0" r="0" b="0"/>
            <a:pathLst>
              <a:path w="971042" h="56907">
                <a:moveTo>
                  <a:pt x="0" y="56907"/>
                </a:moveTo>
                <a:lnTo>
                  <a:pt x="971042" y="56907"/>
                </a:lnTo>
                <a:lnTo>
                  <a:pt x="971042" y="0"/>
                </a:lnTo>
                <a:lnTo>
                  <a:pt x="0" y="0"/>
                </a:lnTo>
                <a:lnTo>
                  <a:pt x="0" y="56907"/>
                </a:lnTo>
                <a:close/>
              </a:path>
            </a:pathLst>
          </a:custGeom>
          <a:noFill/>
          <a:ln w="10667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98" name="Rectangle 398"/>
          <p:cNvSpPr/>
          <p:nvPr/>
        </p:nvSpPr>
        <p:spPr>
          <a:xfrm>
            <a:off x="11418951" y="6400508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10</a:t>
            </a:r>
          </a:p>
        </p:txBody>
      </p:sp>
      <p:sp>
        <p:nvSpPr>
          <p:cNvPr id="399" name="Rectangle 399"/>
          <p:cNvSpPr/>
          <p:nvPr/>
        </p:nvSpPr>
        <p:spPr>
          <a:xfrm>
            <a:off x="640715" y="2328495"/>
            <a:ext cx="6768648" cy="292291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>
              <a:lnSpc>
                <a:spcPct val="150000"/>
              </a:lnSpc>
            </a:pPr>
            <a:r>
              <a:rPr lang="fr-FR" sz="1425" b="0" i="0" spc="0" baseline="0" dirty="0" err="1">
                <a:solidFill>
                  <a:srgbClr val="555555"/>
                </a:solidFill>
                <a:latin typeface="Arial"/>
              </a:rPr>
              <a:t>Wor</a:t>
            </a:r>
            <a:r>
              <a:rPr lang="fr-FR" sz="1425" b="0" i="0" spc="303" baseline="0" dirty="0" err="1">
                <a:solidFill>
                  <a:srgbClr val="555555"/>
                </a:solidFill>
                <a:latin typeface="Arial"/>
              </a:rPr>
              <a:t>k</a:t>
            </a:r>
            <a:r>
              <a:rPr lang="fr-FR" sz="1425" b="0" i="0" spc="0" baseline="0" dirty="0" err="1">
                <a:solidFill>
                  <a:srgbClr val="555555"/>
                </a:solidFill>
                <a:latin typeface="Arial"/>
              </a:rPr>
              <a:t>wit</a:t>
            </a:r>
            <a:r>
              <a:rPr lang="fr-FR" sz="1425" b="0" i="0" spc="338" baseline="0" dirty="0" err="1">
                <a:solidFill>
                  <a:srgbClr val="555555"/>
                </a:solidFill>
                <a:latin typeface="Arial"/>
              </a:rPr>
              <a:t>h</a:t>
            </a:r>
            <a:r>
              <a:rPr lang="fr-FR" sz="1425" b="0" i="0" spc="0" baseline="0" dirty="0" err="1">
                <a:solidFill>
                  <a:srgbClr val="555555"/>
                </a:solidFill>
                <a:latin typeface="Arial"/>
              </a:rPr>
              <a:t>client</a:t>
            </a:r>
            <a:r>
              <a:rPr lang="fr-FR" sz="1425" b="0" i="0" spc="298" baseline="0" dirty="0" err="1">
                <a:solidFill>
                  <a:srgbClr val="555555"/>
                </a:solidFill>
                <a:latin typeface="Arial"/>
              </a:rPr>
              <a:t>s</a:t>
            </a:r>
            <a:r>
              <a:rPr lang="fr-FR" sz="1425" b="0" i="0" spc="0" baseline="0" dirty="0" err="1">
                <a:solidFill>
                  <a:srgbClr val="555555"/>
                </a:solidFill>
                <a:latin typeface="Arial"/>
              </a:rPr>
              <a:t>a</a:t>
            </a:r>
            <a:r>
              <a:rPr lang="fr-FR" sz="1425" b="0" i="0" spc="388" baseline="0" dirty="0" err="1">
                <a:solidFill>
                  <a:srgbClr val="555555"/>
                </a:solidFill>
                <a:latin typeface="Arial"/>
              </a:rPr>
              <a:t>t</a:t>
            </a:r>
            <a:r>
              <a:rPr lang="fr-FR" sz="1427" b="1" dirty="0" err="1">
                <a:solidFill>
                  <a:srgbClr val="4B71B1"/>
                </a:solidFill>
                <a:latin typeface="Arial"/>
              </a:rPr>
              <a:t>C-level</a:t>
            </a:r>
            <a:endParaRPr lang="fr-FR" sz="1427" b="1" dirty="0">
              <a:solidFill>
                <a:srgbClr val="4B71B1"/>
              </a:solidFill>
              <a:latin typeface="Arial"/>
            </a:endParaRPr>
          </a:p>
          <a:p>
            <a:pPr marL="0">
              <a:lnSpc>
                <a:spcPct val="150000"/>
              </a:lnSpc>
            </a:pPr>
            <a:r>
              <a:rPr lang="fr-FR" sz="1427" b="1" i="0" spc="0" baseline="0" dirty="0">
                <a:solidFill>
                  <a:srgbClr val="4B71B1"/>
                </a:solidFill>
                <a:latin typeface="Arial"/>
              </a:rPr>
              <a:t>Interestin</a:t>
            </a:r>
            <a:r>
              <a:rPr lang="fr-FR" sz="1427" b="1" i="0" spc="322" baseline="0" dirty="0">
                <a:solidFill>
                  <a:srgbClr val="4B71B1"/>
                </a:solidFill>
                <a:latin typeface="Arial"/>
              </a:rPr>
              <a:t>g</a:t>
            </a:r>
            <a:r>
              <a:rPr lang="fr-FR" sz="1427" b="1" i="0" spc="0" baseline="0" dirty="0">
                <a:solidFill>
                  <a:srgbClr val="4B71B1"/>
                </a:solidFill>
                <a:latin typeface="Arial"/>
              </a:rPr>
              <a:t>an</a:t>
            </a:r>
            <a:r>
              <a:rPr lang="fr-FR" sz="1427" b="1" i="0" spc="331" baseline="0" dirty="0">
                <a:solidFill>
                  <a:srgbClr val="4B71B1"/>
                </a:solidFill>
                <a:latin typeface="Arial"/>
              </a:rPr>
              <a:t>d</a:t>
            </a:r>
            <a:r>
              <a:rPr lang="fr-FR" sz="1427" b="1" i="0" spc="0" baseline="0" dirty="0">
                <a:solidFill>
                  <a:srgbClr val="4B71B1"/>
                </a:solidFill>
                <a:latin typeface="Arial"/>
              </a:rPr>
              <a:t>stimulatin</a:t>
            </a:r>
            <a:r>
              <a:rPr lang="fr-FR" sz="1427" b="1" i="0" spc="335" baseline="0" dirty="0">
                <a:solidFill>
                  <a:srgbClr val="4B71B1"/>
                </a:solidFill>
                <a:latin typeface="Arial"/>
              </a:rPr>
              <a:t>g</a:t>
            </a:r>
            <a:r>
              <a:rPr lang="fr-FR" sz="1427" b="1" i="0" spc="0" baseline="0" dirty="0">
                <a:solidFill>
                  <a:srgbClr val="4B71B1"/>
                </a:solidFill>
                <a:latin typeface="Arial"/>
              </a:rPr>
              <a:t>problems</a:t>
            </a:r>
          </a:p>
          <a:p>
            <a:pPr marL="0">
              <a:lnSpc>
                <a:spcPct val="150000"/>
              </a:lnSpc>
            </a:pPr>
            <a:r>
              <a:rPr lang="fr-FR" sz="1427" b="1" i="0" spc="0" baseline="0" dirty="0">
                <a:solidFill>
                  <a:srgbClr val="4B71B1"/>
                </a:solidFill>
                <a:latin typeface="Arial"/>
              </a:rPr>
              <a:t>Variet</a:t>
            </a:r>
            <a:r>
              <a:rPr lang="fr-FR" sz="1427" b="1" i="0" spc="317" baseline="0" dirty="0">
                <a:solidFill>
                  <a:srgbClr val="4B71B1"/>
                </a:solidFill>
                <a:latin typeface="Arial"/>
              </a:rPr>
              <a:t>y</a:t>
            </a:r>
            <a:r>
              <a:rPr lang="fr-FR" sz="1427" b="1" i="0" spc="0" baseline="0" dirty="0">
                <a:solidFill>
                  <a:srgbClr val="4B71B1"/>
                </a:solidFill>
                <a:latin typeface="Arial"/>
              </a:rPr>
              <a:t>o</a:t>
            </a:r>
            <a:r>
              <a:rPr lang="fr-FR" sz="1427" b="1" i="0" spc="389" baseline="0" dirty="0">
                <a:solidFill>
                  <a:srgbClr val="4B71B1"/>
                </a:solidFill>
                <a:latin typeface="Arial"/>
              </a:rPr>
              <a:t>f</a:t>
            </a:r>
            <a:r>
              <a:rPr lang="fr-FR" sz="1427" b="1" i="0" spc="0" baseline="0" dirty="0">
                <a:solidFill>
                  <a:srgbClr val="4B71B1"/>
                </a:solidFill>
                <a:latin typeface="Arial"/>
              </a:rPr>
              <a:t>topic</a:t>
            </a:r>
            <a:r>
              <a:rPr lang="fr-FR" sz="1427" b="1" i="0" spc="344" baseline="0" dirty="0">
                <a:solidFill>
                  <a:srgbClr val="4B71B1"/>
                </a:solidFill>
                <a:latin typeface="Arial"/>
              </a:rPr>
              <a:t>s</a:t>
            </a:r>
            <a:r>
              <a:rPr lang="fr-FR" sz="1427" b="1" i="0" spc="0" baseline="0" dirty="0">
                <a:solidFill>
                  <a:srgbClr val="4B71B1"/>
                </a:solidFill>
                <a:latin typeface="Arial"/>
              </a:rPr>
              <a:t>and </a:t>
            </a:r>
            <a:r>
              <a:rPr lang="fr-FR" sz="1427" b="1" i="0" spc="0" baseline="0" dirty="0" err="1">
                <a:solidFill>
                  <a:srgbClr val="4B71B1"/>
                </a:solidFill>
                <a:latin typeface="Arial"/>
              </a:rPr>
              <a:t>sector</a:t>
            </a:r>
            <a:r>
              <a:rPr lang="fr-FR" sz="1427" b="1" i="0" spc="329" baseline="0" dirty="0" err="1">
                <a:solidFill>
                  <a:srgbClr val="4B71B1"/>
                </a:solidFill>
                <a:latin typeface="Arial"/>
              </a:rPr>
              <a:t>s</a:t>
            </a:r>
            <a:r>
              <a:rPr lang="fr-FR" sz="1427" b="1" i="0" spc="324" baseline="0" dirty="0" err="1">
                <a:solidFill>
                  <a:srgbClr val="4B71B1"/>
                </a:solidFill>
                <a:latin typeface="Arial"/>
              </a:rPr>
              <a:t>-</a:t>
            </a:r>
            <a:r>
              <a:rPr lang="fr-FR" sz="1427" b="1" i="0" spc="0" baseline="0" dirty="0" err="1">
                <a:solidFill>
                  <a:srgbClr val="4B71B1"/>
                </a:solidFill>
                <a:latin typeface="Arial"/>
              </a:rPr>
              <a:t>Yo</a:t>
            </a:r>
            <a:r>
              <a:rPr lang="fr-FR" sz="1427" b="1" i="0" spc="356" baseline="0" dirty="0" err="1">
                <a:solidFill>
                  <a:srgbClr val="4B71B1"/>
                </a:solidFill>
                <a:latin typeface="Arial"/>
              </a:rPr>
              <a:t>u</a:t>
            </a:r>
            <a:r>
              <a:rPr lang="fr-FR" sz="1427" b="1" i="0" spc="0" baseline="0" dirty="0" err="1">
                <a:solidFill>
                  <a:srgbClr val="4B71B1"/>
                </a:solidFill>
                <a:latin typeface="Arial"/>
              </a:rPr>
              <a:t>ar</a:t>
            </a:r>
            <a:r>
              <a:rPr lang="fr-FR" sz="1427" b="1" i="0" spc="333" baseline="0" dirty="0" err="1">
                <a:solidFill>
                  <a:srgbClr val="4B71B1"/>
                </a:solidFill>
                <a:latin typeface="Arial"/>
              </a:rPr>
              <a:t>e</a:t>
            </a:r>
            <a:r>
              <a:rPr lang="fr-FR" sz="1427" b="1" i="0" spc="0" baseline="0" dirty="0" err="1">
                <a:solidFill>
                  <a:srgbClr val="4B71B1"/>
                </a:solidFill>
                <a:latin typeface="Arial"/>
              </a:rPr>
              <a:t>constantl</a:t>
            </a:r>
            <a:r>
              <a:rPr lang="fr-FR" sz="1427" b="1" i="0" spc="322" baseline="0" dirty="0" err="1">
                <a:solidFill>
                  <a:srgbClr val="4B71B1"/>
                </a:solidFill>
                <a:latin typeface="Arial"/>
              </a:rPr>
              <a:t>y</a:t>
            </a:r>
            <a:r>
              <a:rPr lang="fr-FR" sz="1427" b="1" i="0" spc="0" baseline="0" dirty="0" err="1">
                <a:solidFill>
                  <a:srgbClr val="4B71B1"/>
                </a:solidFill>
                <a:latin typeface="Arial"/>
              </a:rPr>
              <a:t>challenged</a:t>
            </a:r>
            <a:r>
              <a:rPr lang="fr-FR" sz="1427" b="1" i="0" spc="0" baseline="0" dirty="0">
                <a:solidFill>
                  <a:srgbClr val="4B71B1"/>
                </a:solidFill>
                <a:latin typeface="Arial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fr-FR" sz="1425" b="1" i="0" spc="0" baseline="0" dirty="0" err="1">
                <a:solidFill>
                  <a:srgbClr val="4B71B1"/>
                </a:solidFill>
                <a:latin typeface="Arial"/>
              </a:rPr>
              <a:t>Young</a:t>
            </a:r>
            <a:r>
              <a:rPr lang="fr-FR" sz="1425" b="1" i="0" spc="318" baseline="0" dirty="0" err="1">
                <a:solidFill>
                  <a:srgbClr val="4B71B1"/>
                </a:solidFill>
                <a:latin typeface="Arial"/>
              </a:rPr>
              <a:t>,</a:t>
            </a:r>
            <a:r>
              <a:rPr lang="fr-FR" sz="1425" b="1" i="0" spc="0" baseline="0" dirty="0" err="1">
                <a:solidFill>
                  <a:srgbClr val="4B71B1"/>
                </a:solidFill>
                <a:latin typeface="Arial"/>
              </a:rPr>
              <a:t>dynami</a:t>
            </a:r>
            <a:r>
              <a:rPr lang="fr-FR" sz="1425" b="1" i="0" spc="404" baseline="0" dirty="0" err="1">
                <a:solidFill>
                  <a:srgbClr val="4B71B1"/>
                </a:solidFill>
                <a:latin typeface="Arial"/>
              </a:rPr>
              <a:t>c</a:t>
            </a:r>
            <a:r>
              <a:rPr lang="fr-FR" sz="1425" b="1" i="0" spc="0" baseline="0" dirty="0" err="1">
                <a:solidFill>
                  <a:srgbClr val="4B71B1"/>
                </a:solidFill>
                <a:latin typeface="Arial"/>
              </a:rPr>
              <a:t>colleagues</a:t>
            </a:r>
            <a:endParaRPr lang="fr-FR" sz="1425" b="1" i="0" spc="0" baseline="0" dirty="0">
              <a:solidFill>
                <a:srgbClr val="4B71B1"/>
              </a:solidFill>
              <a:latin typeface="Arial"/>
            </a:endParaRPr>
          </a:p>
          <a:p>
            <a:pPr>
              <a:lnSpc>
                <a:spcPct val="150000"/>
              </a:lnSpc>
            </a:pPr>
            <a:r>
              <a:rPr lang="fr-FR" sz="1425" b="1" i="0" spc="0" baseline="0" dirty="0">
                <a:solidFill>
                  <a:srgbClr val="4B71B1"/>
                </a:solidFill>
                <a:latin typeface="Arial"/>
              </a:rPr>
              <a:t>Traveling</a:t>
            </a:r>
          </a:p>
          <a:p>
            <a:pPr>
              <a:lnSpc>
                <a:spcPct val="150000"/>
              </a:lnSpc>
            </a:pPr>
            <a:r>
              <a:rPr lang="fr-FR" sz="1427" b="1" i="0" spc="0" baseline="0" dirty="0" err="1">
                <a:solidFill>
                  <a:srgbClr val="4B71B1"/>
                </a:solidFill>
                <a:latin typeface="Arial"/>
              </a:rPr>
              <a:t>Suppor</a:t>
            </a:r>
            <a:r>
              <a:rPr lang="fr-FR" sz="1427" b="1" i="0" spc="334" baseline="0" dirty="0" err="1">
                <a:solidFill>
                  <a:srgbClr val="4B71B1"/>
                </a:solidFill>
                <a:latin typeface="Arial"/>
              </a:rPr>
              <a:t>t</a:t>
            </a:r>
            <a:r>
              <a:rPr lang="fr-FR" sz="1427" b="1" i="0" spc="0" baseline="0" dirty="0" err="1">
                <a:solidFill>
                  <a:srgbClr val="4B71B1"/>
                </a:solidFill>
                <a:latin typeface="Arial"/>
              </a:rPr>
              <a:t>fro</a:t>
            </a:r>
            <a:r>
              <a:rPr lang="fr-FR" sz="1427" b="1" i="0" spc="320" baseline="0" dirty="0" err="1">
                <a:solidFill>
                  <a:srgbClr val="4B71B1"/>
                </a:solidFill>
                <a:latin typeface="Arial"/>
              </a:rPr>
              <a:t>m</a:t>
            </a:r>
            <a:r>
              <a:rPr lang="fr-FR" sz="1427" b="1" i="0" spc="0" baseline="0" dirty="0" err="1">
                <a:solidFill>
                  <a:srgbClr val="4B71B1"/>
                </a:solidFill>
                <a:latin typeface="Arial"/>
              </a:rPr>
              <a:t>fir</a:t>
            </a:r>
            <a:r>
              <a:rPr lang="fr-FR" sz="1427" b="1" i="0" spc="329" baseline="0" dirty="0" err="1">
                <a:solidFill>
                  <a:srgbClr val="4B71B1"/>
                </a:solidFill>
                <a:latin typeface="Arial"/>
              </a:rPr>
              <a:t>m</a:t>
            </a:r>
            <a:r>
              <a:rPr lang="fr-FR" sz="1427" b="0" i="0" spc="0" baseline="0" dirty="0">
                <a:solidFill>
                  <a:srgbClr val="555555"/>
                </a:solidFill>
                <a:latin typeface="Arial"/>
              </a:rPr>
              <a:t>(</a:t>
            </a:r>
            <a:r>
              <a:rPr lang="fr-FR" sz="1427" b="0" i="0" spc="0" baseline="0" dirty="0" err="1">
                <a:solidFill>
                  <a:srgbClr val="555555"/>
                </a:solidFill>
                <a:latin typeface="Arial"/>
              </a:rPr>
              <a:t>MBA</a:t>
            </a:r>
            <a:r>
              <a:rPr lang="fr-FR" sz="1427" b="0" i="0" spc="335" baseline="0" dirty="0" err="1">
                <a:solidFill>
                  <a:srgbClr val="555555"/>
                </a:solidFill>
                <a:latin typeface="Arial"/>
              </a:rPr>
              <a:t>,</a:t>
            </a:r>
            <a:r>
              <a:rPr lang="fr-FR" sz="1427" b="0" i="0" spc="0" baseline="0" dirty="0" err="1">
                <a:solidFill>
                  <a:srgbClr val="555555"/>
                </a:solidFill>
                <a:latin typeface="Arial"/>
              </a:rPr>
              <a:t>d</a:t>
            </a:r>
            <a:r>
              <a:rPr lang="fr-FR" sz="1427" b="0" i="0" spc="373" baseline="0" dirty="0" err="1">
                <a:solidFill>
                  <a:srgbClr val="555555"/>
                </a:solidFill>
                <a:latin typeface="Arial"/>
              </a:rPr>
              <a:t>o</a:t>
            </a:r>
            <a:r>
              <a:rPr lang="fr-FR" sz="1427" b="0" i="0" spc="0" baseline="0" dirty="0" err="1">
                <a:solidFill>
                  <a:srgbClr val="555555"/>
                </a:solidFill>
                <a:latin typeface="Arial"/>
              </a:rPr>
              <a:t>charitabl</a:t>
            </a:r>
            <a:r>
              <a:rPr lang="fr-FR" sz="1427" b="0" i="0" spc="302" baseline="0" dirty="0" err="1">
                <a:solidFill>
                  <a:srgbClr val="555555"/>
                </a:solidFill>
                <a:latin typeface="Arial"/>
              </a:rPr>
              <a:t>e</a:t>
            </a:r>
            <a:r>
              <a:rPr lang="fr-FR" sz="1427" b="0" i="0" spc="0" baseline="0" dirty="0" err="1">
                <a:solidFill>
                  <a:srgbClr val="555555"/>
                </a:solidFill>
                <a:latin typeface="Arial"/>
              </a:rPr>
              <a:t>work</a:t>
            </a:r>
            <a:r>
              <a:rPr lang="fr-FR" sz="1427" b="0" i="0" spc="0" baseline="0" dirty="0">
                <a:solidFill>
                  <a:srgbClr val="555555"/>
                </a:solidFill>
                <a:latin typeface="Arial"/>
              </a:rPr>
              <a:t>…)</a:t>
            </a:r>
            <a:endParaRPr lang="fr-FR" sz="1427" b="1" i="0" spc="0" baseline="0" dirty="0">
              <a:solidFill>
                <a:srgbClr val="4B71B1"/>
              </a:solidFill>
              <a:latin typeface="Arial"/>
            </a:endParaRPr>
          </a:p>
          <a:p>
            <a:pPr marL="0">
              <a:lnSpc>
                <a:spcPct val="150000"/>
              </a:lnSpc>
            </a:pPr>
            <a:r>
              <a:rPr lang="fr-FR" sz="1427" b="1" i="0" spc="0" baseline="0" dirty="0" err="1">
                <a:solidFill>
                  <a:srgbClr val="4B71B1"/>
                </a:solidFill>
                <a:latin typeface="Arial"/>
              </a:rPr>
              <a:t>Acces</a:t>
            </a:r>
            <a:r>
              <a:rPr lang="fr-FR" sz="1427" b="1" i="0" spc="391" baseline="0" dirty="0" err="1">
                <a:solidFill>
                  <a:srgbClr val="4B71B1"/>
                </a:solidFill>
                <a:latin typeface="Arial"/>
              </a:rPr>
              <a:t>s</a:t>
            </a:r>
            <a:r>
              <a:rPr lang="fr-FR" sz="1427" b="1" i="0" spc="0" baseline="0" dirty="0" err="1">
                <a:solidFill>
                  <a:srgbClr val="4B71B1"/>
                </a:solidFill>
                <a:latin typeface="Arial"/>
              </a:rPr>
              <a:t>t</a:t>
            </a:r>
            <a:r>
              <a:rPr lang="fr-FR" sz="1427" b="1" i="0" spc="360" baseline="0" dirty="0" err="1">
                <a:solidFill>
                  <a:srgbClr val="4B71B1"/>
                </a:solidFill>
                <a:latin typeface="Arial"/>
              </a:rPr>
              <a:t>o</a:t>
            </a:r>
            <a:r>
              <a:rPr lang="fr-FR" sz="1427" b="1" i="0" spc="0" baseline="0" dirty="0" err="1">
                <a:solidFill>
                  <a:srgbClr val="4B71B1"/>
                </a:solidFill>
                <a:latin typeface="Arial"/>
              </a:rPr>
              <a:t>many</a:t>
            </a:r>
            <a:r>
              <a:rPr lang="fr-FR" sz="1427" b="1" i="0" spc="0" baseline="0" dirty="0">
                <a:solidFill>
                  <a:srgbClr val="4B71B1"/>
                </a:solidFill>
                <a:latin typeface="Arial"/>
              </a:rPr>
              <a:t> </a:t>
            </a:r>
            <a:r>
              <a:rPr lang="fr-FR" sz="1427" b="1" i="0" spc="0" baseline="0" dirty="0" err="1">
                <a:solidFill>
                  <a:srgbClr val="4B71B1"/>
                </a:solidFill>
                <a:latin typeface="Arial"/>
              </a:rPr>
              <a:t>sector</a:t>
            </a:r>
            <a:r>
              <a:rPr lang="fr-FR" sz="1427" b="1" i="0" spc="338" baseline="0" dirty="0" err="1">
                <a:solidFill>
                  <a:srgbClr val="4B71B1"/>
                </a:solidFill>
                <a:latin typeface="Arial"/>
              </a:rPr>
              <a:t>s</a:t>
            </a:r>
            <a:r>
              <a:rPr lang="fr-FR" sz="1427" b="0" i="0" spc="368" baseline="0" dirty="0">
                <a:solidFill>
                  <a:srgbClr val="555555"/>
                </a:solidFill>
                <a:latin typeface="Arial"/>
              </a:rPr>
              <a:t>/</a:t>
            </a:r>
            <a:r>
              <a:rPr lang="fr-FR" sz="1427" b="0" i="0" spc="0" baseline="0" dirty="0" err="1">
                <a:solidFill>
                  <a:srgbClr val="555555"/>
                </a:solidFill>
                <a:latin typeface="Arial"/>
              </a:rPr>
              <a:t>industries</a:t>
            </a:r>
            <a:r>
              <a:rPr lang="fr-FR" sz="1427" b="0" i="0" spc="356" baseline="0" dirty="0" err="1">
                <a:solidFill>
                  <a:srgbClr val="555555"/>
                </a:solidFill>
                <a:latin typeface="Arial"/>
              </a:rPr>
              <a:t>,</a:t>
            </a:r>
            <a:r>
              <a:rPr lang="fr-FR" sz="1427" b="0" i="0" spc="0" baseline="0" dirty="0" err="1">
                <a:solidFill>
                  <a:srgbClr val="555555"/>
                </a:solidFill>
                <a:latin typeface="Arial"/>
              </a:rPr>
              <a:t>clients</a:t>
            </a:r>
            <a:r>
              <a:rPr lang="fr-FR" sz="1427" b="0" i="0" spc="0" baseline="0" dirty="0">
                <a:solidFill>
                  <a:srgbClr val="555555"/>
                </a:solidFill>
                <a:latin typeface="Arial"/>
              </a:rPr>
              <a:t>…</a:t>
            </a:r>
            <a:r>
              <a:rPr lang="fr-FR" sz="1427" b="0" i="0" spc="330" baseline="0" dirty="0">
                <a:solidFill>
                  <a:srgbClr val="555555"/>
                </a:solidFill>
                <a:latin typeface="Arial"/>
              </a:rPr>
              <a:t>:</a:t>
            </a:r>
            <a:r>
              <a:rPr lang="fr-FR" sz="1427" b="0" i="0" spc="0" baseline="0" dirty="0" err="1">
                <a:solidFill>
                  <a:srgbClr val="555555"/>
                </a:solidFill>
                <a:latin typeface="Arial"/>
              </a:rPr>
              <a:t>grea</a:t>
            </a:r>
            <a:r>
              <a:rPr lang="fr-FR" sz="1427" b="0" i="0" spc="345" baseline="0" dirty="0" err="1">
                <a:solidFill>
                  <a:srgbClr val="555555"/>
                </a:solidFill>
                <a:latin typeface="Arial"/>
              </a:rPr>
              <a:t>t</a:t>
            </a:r>
            <a:r>
              <a:rPr lang="fr-FR" sz="1427" b="0" i="0" spc="0" baseline="0" dirty="0" err="1">
                <a:solidFill>
                  <a:srgbClr val="555555"/>
                </a:solidFill>
                <a:latin typeface="Arial"/>
              </a:rPr>
              <a:t>learnin</a:t>
            </a:r>
            <a:r>
              <a:rPr lang="fr-FR" sz="1427" b="0" i="0" spc="367" baseline="0" dirty="0" err="1">
                <a:solidFill>
                  <a:srgbClr val="555555"/>
                </a:solidFill>
                <a:latin typeface="Arial"/>
              </a:rPr>
              <a:t>g</a:t>
            </a:r>
            <a:r>
              <a:rPr lang="fr-FR" sz="1427" b="0" i="0" spc="0" baseline="0" dirty="0" err="1">
                <a:solidFill>
                  <a:srgbClr val="555555"/>
                </a:solidFill>
                <a:latin typeface="Arial"/>
              </a:rPr>
              <a:t>experience</a:t>
            </a:r>
            <a:r>
              <a:rPr lang="fr-FR" sz="1427" b="0" i="0" spc="0" baseline="0" dirty="0">
                <a:solidFill>
                  <a:srgbClr val="555555"/>
                </a:solidFill>
                <a:latin typeface="Arial"/>
              </a:rPr>
              <a:t>!</a:t>
            </a:r>
          </a:p>
          <a:p>
            <a:pPr marL="0">
              <a:lnSpc>
                <a:spcPct val="150000"/>
              </a:lnSpc>
            </a:pPr>
            <a:r>
              <a:rPr lang="fr-FR" sz="1427" b="1" i="0" spc="0" baseline="0" dirty="0" err="1">
                <a:solidFill>
                  <a:srgbClr val="4B71B1"/>
                </a:solidFill>
                <a:latin typeface="Arial"/>
              </a:rPr>
              <a:t>Attractiv</a:t>
            </a:r>
            <a:r>
              <a:rPr lang="fr-FR" sz="1427" b="1" i="0" spc="349" baseline="0" dirty="0" err="1">
                <a:solidFill>
                  <a:srgbClr val="4B71B1"/>
                </a:solidFill>
                <a:latin typeface="Arial"/>
              </a:rPr>
              <a:t>e</a:t>
            </a:r>
            <a:r>
              <a:rPr lang="fr-FR" sz="1427" b="1" i="0" spc="0" baseline="0" dirty="0" err="1">
                <a:solidFill>
                  <a:srgbClr val="4B71B1"/>
                </a:solidFill>
                <a:latin typeface="Arial"/>
              </a:rPr>
              <a:t>compensatio</a:t>
            </a:r>
            <a:r>
              <a:rPr lang="fr-FR" sz="1427" b="1" i="0" spc="327" baseline="0" dirty="0" err="1">
                <a:solidFill>
                  <a:srgbClr val="4B71B1"/>
                </a:solidFill>
                <a:latin typeface="Arial"/>
              </a:rPr>
              <a:t>n</a:t>
            </a:r>
            <a:r>
              <a:rPr lang="fr-FR" sz="1427" b="0" i="0" spc="0" baseline="0" dirty="0" err="1">
                <a:solidFill>
                  <a:srgbClr val="555555"/>
                </a:solidFill>
                <a:latin typeface="Arial"/>
              </a:rPr>
              <a:t>packages</a:t>
            </a:r>
            <a:endParaRPr lang="fr-FR" sz="1427" b="0" i="0" spc="0" baseline="0" dirty="0">
              <a:solidFill>
                <a:srgbClr val="555555"/>
              </a:solidFill>
              <a:latin typeface="Arial"/>
            </a:endParaRPr>
          </a:p>
          <a:p>
            <a:pPr marL="0">
              <a:lnSpc>
                <a:spcPct val="150000"/>
              </a:lnSpc>
            </a:pPr>
            <a:r>
              <a:rPr lang="fr-FR" sz="1425" b="1" i="0" spc="0" baseline="0" dirty="0">
                <a:solidFill>
                  <a:srgbClr val="4B71B1"/>
                </a:solidFill>
                <a:latin typeface="Arial"/>
              </a:rPr>
              <a:t>Goo</a:t>
            </a:r>
            <a:r>
              <a:rPr lang="fr-FR" sz="1425" b="1" i="0" spc="337" baseline="0" dirty="0">
                <a:solidFill>
                  <a:srgbClr val="4B71B1"/>
                </a:solidFill>
                <a:latin typeface="Arial"/>
              </a:rPr>
              <a:t>d</a:t>
            </a:r>
            <a:r>
              <a:rPr lang="fr-FR" sz="1425" b="1" i="0" spc="0" baseline="0" dirty="0">
                <a:solidFill>
                  <a:srgbClr val="4B71B1"/>
                </a:solidFill>
                <a:latin typeface="Arial"/>
              </a:rPr>
              <a:t>caree</a:t>
            </a:r>
            <a:r>
              <a:rPr lang="fr-FR" sz="1425" b="1" i="0" spc="355" baseline="0" dirty="0">
                <a:solidFill>
                  <a:srgbClr val="4B71B1"/>
                </a:solidFill>
                <a:latin typeface="Arial"/>
              </a:rPr>
              <a:t>r</a:t>
            </a:r>
            <a:r>
              <a:rPr lang="fr-FR" sz="1425" b="1" i="0" spc="0" baseline="0" dirty="0">
                <a:solidFill>
                  <a:srgbClr val="4B71B1"/>
                </a:solidFill>
                <a:latin typeface="Arial"/>
              </a:rPr>
              <a:t>visibility</a:t>
            </a:r>
            <a:r>
              <a:rPr lang="fr-FR" sz="1425" b="1" i="0" spc="372" baseline="0" dirty="0">
                <a:solidFill>
                  <a:srgbClr val="4B71B1"/>
                </a:solidFill>
                <a:latin typeface="Arial"/>
              </a:rPr>
              <a:t>:</a:t>
            </a:r>
            <a:r>
              <a:rPr lang="fr-FR" sz="1425" b="0" i="0" spc="0" baseline="0" dirty="0">
                <a:solidFill>
                  <a:srgbClr val="555555"/>
                </a:solidFill>
                <a:latin typeface="Arial"/>
              </a:rPr>
              <a:t>constan</a:t>
            </a:r>
            <a:r>
              <a:rPr lang="fr-FR" sz="1425" b="0" i="0" spc="364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425" b="0" i="0" spc="0" baseline="0" dirty="0">
                <a:solidFill>
                  <a:srgbClr val="555555"/>
                </a:solidFill>
                <a:latin typeface="Arial"/>
              </a:rPr>
              <a:t>coaching</a:t>
            </a:r>
            <a:r>
              <a:rPr lang="fr-FR" sz="1425" b="0" i="0" spc="304" baseline="0" dirty="0">
                <a:solidFill>
                  <a:srgbClr val="555555"/>
                </a:solidFill>
                <a:latin typeface="Arial"/>
              </a:rPr>
              <a:t>,</a:t>
            </a:r>
            <a:r>
              <a:rPr lang="fr-FR" sz="1425" b="0" i="0" spc="0" baseline="0" dirty="0">
                <a:solidFill>
                  <a:srgbClr val="555555"/>
                </a:solidFill>
                <a:latin typeface="Arial"/>
              </a:rPr>
              <a:t>clea</a:t>
            </a:r>
            <a:r>
              <a:rPr lang="fr-FR" sz="1425" b="0" i="0" spc="373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425" b="0" i="0" spc="0" baseline="0" dirty="0">
                <a:solidFill>
                  <a:srgbClr val="555555"/>
                </a:solidFill>
                <a:latin typeface="Arial"/>
              </a:rPr>
              <a:t>caree</a:t>
            </a:r>
            <a:r>
              <a:rPr lang="fr-FR" sz="1425" b="0" i="0" spc="301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425" b="0" i="0" spc="0" baseline="0" dirty="0">
                <a:solidFill>
                  <a:srgbClr val="555555"/>
                </a:solidFill>
                <a:latin typeface="Arial"/>
              </a:rPr>
              <a:t>path</a:t>
            </a:r>
            <a:r>
              <a:rPr lang="fr-FR" sz="1425" b="0" i="0" spc="372" baseline="0" dirty="0">
                <a:solidFill>
                  <a:srgbClr val="555555"/>
                </a:solidFill>
                <a:latin typeface="Arial"/>
              </a:rPr>
              <a:t>,</a:t>
            </a:r>
            <a:r>
              <a:rPr lang="fr-FR" sz="1425" b="0" i="0" spc="0" baseline="0" dirty="0">
                <a:solidFill>
                  <a:srgbClr val="555555"/>
                </a:solidFill>
                <a:latin typeface="Arial"/>
              </a:rPr>
              <a:t>salar</a:t>
            </a:r>
            <a:r>
              <a:rPr lang="fr-FR" sz="1425" b="0" i="0" spc="369" baseline="0" dirty="0">
                <a:solidFill>
                  <a:srgbClr val="555555"/>
                </a:solidFill>
                <a:latin typeface="Arial"/>
              </a:rPr>
              <a:t>y</a:t>
            </a:r>
            <a:r>
              <a:rPr lang="fr-FR" sz="1425" b="0" i="0" spc="0" baseline="0" dirty="0">
                <a:solidFill>
                  <a:srgbClr val="555555"/>
                </a:solidFill>
                <a:latin typeface="Arial"/>
              </a:rPr>
              <a:t>raised </a:t>
            </a:r>
            <a:r>
              <a:rPr lang="fr-FR" sz="1425" b="0" i="0" spc="0" baseline="0" dirty="0" err="1">
                <a:solidFill>
                  <a:srgbClr val="555555"/>
                </a:solidFill>
                <a:latin typeface="Arial"/>
              </a:rPr>
              <a:t>regularl</a:t>
            </a:r>
            <a:r>
              <a:rPr lang="fr-FR" sz="1425" b="0" i="0" spc="334" baseline="0" dirty="0" err="1">
                <a:solidFill>
                  <a:srgbClr val="555555"/>
                </a:solidFill>
                <a:latin typeface="Arial"/>
              </a:rPr>
              <a:t>y</a:t>
            </a:r>
            <a:endParaRPr lang="fr-FR" sz="1425" b="0" i="0" spc="0" baseline="0" dirty="0">
              <a:solidFill>
                <a:srgbClr val="555555"/>
              </a:solidFill>
              <a:latin typeface="Arial"/>
            </a:endParaRPr>
          </a:p>
        </p:txBody>
      </p:sp>
      <p:sp>
        <p:nvSpPr>
          <p:cNvPr id="404" name="Rectangle 404"/>
          <p:cNvSpPr/>
          <p:nvPr/>
        </p:nvSpPr>
        <p:spPr>
          <a:xfrm>
            <a:off x="630555" y="493213"/>
            <a:ext cx="5467901" cy="11085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Wha</a:t>
            </a:r>
            <a:r>
              <a:rPr lang="fr-FR" sz="3604" b="1" i="0" spc="979" baseline="0" dirty="0">
                <a:solidFill>
                  <a:srgbClr val="466CAD"/>
                </a:solidFill>
                <a:latin typeface="Arial"/>
              </a:rPr>
              <a:t>t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make</a:t>
            </a:r>
            <a:r>
              <a:rPr lang="fr-FR" sz="3604" b="1" i="0" spc="912" baseline="0" dirty="0">
                <a:solidFill>
                  <a:srgbClr val="466CAD"/>
                </a:solidFill>
                <a:latin typeface="Arial"/>
              </a:rPr>
              <a:t>s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consultants </a:t>
            </a:r>
          </a:p>
          <a:p>
            <a:pPr marL="0">
              <a:lnSpc>
                <a:spcPts val="3904"/>
              </a:lnSpc>
            </a:pP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enjoy thei</a:t>
            </a:r>
            <a:r>
              <a:rPr lang="fr-FR" sz="3604" b="1" i="0" spc="1026" baseline="0" dirty="0">
                <a:solidFill>
                  <a:srgbClr val="466CAD"/>
                </a:solidFill>
                <a:latin typeface="Arial"/>
              </a:rPr>
              <a:t>r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jobs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Freeform 405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06" name="Freeform 406"/>
          <p:cNvSpPr/>
          <p:nvPr/>
        </p:nvSpPr>
        <p:spPr>
          <a:xfrm>
            <a:off x="666750" y="1685914"/>
            <a:ext cx="1542669" cy="56908"/>
          </a:xfrm>
          <a:custGeom>
            <a:avLst/>
            <a:gdLst/>
            <a:ahLst/>
            <a:cxnLst/>
            <a:rect l="0" t="0" r="0" b="0"/>
            <a:pathLst>
              <a:path w="1542669" h="56908">
                <a:moveTo>
                  <a:pt x="0" y="56908"/>
                </a:moveTo>
                <a:lnTo>
                  <a:pt x="1542669" y="56908"/>
                </a:lnTo>
                <a:lnTo>
                  <a:pt x="1542669" y="0"/>
                </a:lnTo>
                <a:lnTo>
                  <a:pt x="0" y="0"/>
                </a:lnTo>
                <a:lnTo>
                  <a:pt x="0" y="56908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07" name="Freeform 407"/>
          <p:cNvSpPr/>
          <p:nvPr/>
        </p:nvSpPr>
        <p:spPr>
          <a:xfrm>
            <a:off x="671512" y="1690740"/>
            <a:ext cx="1542669" cy="56907"/>
          </a:xfrm>
          <a:custGeom>
            <a:avLst/>
            <a:gdLst/>
            <a:ahLst/>
            <a:cxnLst/>
            <a:rect l="0" t="0" r="0" b="0"/>
            <a:pathLst>
              <a:path w="1542669" h="56907">
                <a:moveTo>
                  <a:pt x="0" y="56907"/>
                </a:moveTo>
                <a:lnTo>
                  <a:pt x="1542669" y="56907"/>
                </a:lnTo>
                <a:lnTo>
                  <a:pt x="1542669" y="0"/>
                </a:lnTo>
                <a:lnTo>
                  <a:pt x="0" y="0"/>
                </a:lnTo>
                <a:lnTo>
                  <a:pt x="0" y="56907"/>
                </a:lnTo>
                <a:close/>
              </a:path>
            </a:pathLst>
          </a:custGeom>
          <a:noFill/>
          <a:ln w="10667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08" name="Freeform 408"/>
          <p:cNvSpPr/>
          <p:nvPr/>
        </p:nvSpPr>
        <p:spPr>
          <a:xfrm>
            <a:off x="5286375" y="4076700"/>
            <a:ext cx="1361947" cy="380493"/>
          </a:xfrm>
          <a:custGeom>
            <a:avLst/>
            <a:gdLst/>
            <a:ahLst/>
            <a:cxnLst/>
            <a:rect l="0" t="0" r="0" b="0"/>
            <a:pathLst>
              <a:path w="1361947" h="380493">
                <a:moveTo>
                  <a:pt x="1361947" y="158877"/>
                </a:moveTo>
                <a:lnTo>
                  <a:pt x="1349120" y="139955"/>
                </a:lnTo>
                <a:lnTo>
                  <a:pt x="1335278" y="138049"/>
                </a:lnTo>
                <a:lnTo>
                  <a:pt x="1318006" y="119127"/>
                </a:lnTo>
                <a:lnTo>
                  <a:pt x="1280794" y="86361"/>
                </a:lnTo>
                <a:lnTo>
                  <a:pt x="1240663" y="57912"/>
                </a:lnTo>
                <a:lnTo>
                  <a:pt x="1197609" y="33909"/>
                </a:lnTo>
                <a:lnTo>
                  <a:pt x="1152271" y="14605"/>
                </a:lnTo>
                <a:lnTo>
                  <a:pt x="1104772" y="0"/>
                </a:lnTo>
                <a:lnTo>
                  <a:pt x="1076578" y="4699"/>
                </a:lnTo>
                <a:lnTo>
                  <a:pt x="1061592" y="26671"/>
                </a:lnTo>
                <a:lnTo>
                  <a:pt x="1063371" y="52578"/>
                </a:lnTo>
                <a:lnTo>
                  <a:pt x="1085596" y="69596"/>
                </a:lnTo>
                <a:lnTo>
                  <a:pt x="1135634" y="85725"/>
                </a:lnTo>
                <a:lnTo>
                  <a:pt x="1182242" y="107696"/>
                </a:lnTo>
                <a:lnTo>
                  <a:pt x="1225422" y="135509"/>
                </a:lnTo>
                <a:lnTo>
                  <a:pt x="1248536" y="154940"/>
                </a:lnTo>
                <a:lnTo>
                  <a:pt x="1224788" y="160528"/>
                </a:lnTo>
                <a:lnTo>
                  <a:pt x="1176146" y="170561"/>
                </a:lnTo>
                <a:lnTo>
                  <a:pt x="1127378" y="179324"/>
                </a:lnTo>
                <a:lnTo>
                  <a:pt x="1078484" y="186818"/>
                </a:lnTo>
                <a:lnTo>
                  <a:pt x="1029461" y="193168"/>
                </a:lnTo>
                <a:lnTo>
                  <a:pt x="980313" y="198502"/>
                </a:lnTo>
                <a:lnTo>
                  <a:pt x="931036" y="202946"/>
                </a:lnTo>
                <a:lnTo>
                  <a:pt x="881634" y="206502"/>
                </a:lnTo>
                <a:lnTo>
                  <a:pt x="832103" y="209296"/>
                </a:lnTo>
                <a:lnTo>
                  <a:pt x="782573" y="211328"/>
                </a:lnTo>
                <a:lnTo>
                  <a:pt x="733044" y="212725"/>
                </a:lnTo>
                <a:lnTo>
                  <a:pt x="683386" y="213742"/>
                </a:lnTo>
                <a:lnTo>
                  <a:pt x="633729" y="214249"/>
                </a:lnTo>
                <a:lnTo>
                  <a:pt x="586994" y="214503"/>
                </a:lnTo>
                <a:lnTo>
                  <a:pt x="534542" y="214503"/>
                </a:lnTo>
                <a:lnTo>
                  <a:pt x="484251" y="214377"/>
                </a:lnTo>
                <a:lnTo>
                  <a:pt x="0" y="212471"/>
                </a:lnTo>
                <a:lnTo>
                  <a:pt x="0" y="285496"/>
                </a:lnTo>
                <a:lnTo>
                  <a:pt x="21971" y="285750"/>
                </a:lnTo>
                <a:lnTo>
                  <a:pt x="73278" y="286258"/>
                </a:lnTo>
                <a:lnTo>
                  <a:pt x="124586" y="286893"/>
                </a:lnTo>
                <a:lnTo>
                  <a:pt x="227329" y="288164"/>
                </a:lnTo>
                <a:lnTo>
                  <a:pt x="278765" y="288671"/>
                </a:lnTo>
                <a:lnTo>
                  <a:pt x="330072" y="289180"/>
                </a:lnTo>
                <a:lnTo>
                  <a:pt x="381508" y="289561"/>
                </a:lnTo>
                <a:lnTo>
                  <a:pt x="432815" y="289815"/>
                </a:lnTo>
                <a:lnTo>
                  <a:pt x="485013" y="289942"/>
                </a:lnTo>
                <a:lnTo>
                  <a:pt x="535559" y="289687"/>
                </a:lnTo>
                <a:lnTo>
                  <a:pt x="586994" y="289306"/>
                </a:lnTo>
                <a:lnTo>
                  <a:pt x="638302" y="288545"/>
                </a:lnTo>
                <a:lnTo>
                  <a:pt x="689609" y="287528"/>
                </a:lnTo>
                <a:lnTo>
                  <a:pt x="740917" y="286131"/>
                </a:lnTo>
                <a:lnTo>
                  <a:pt x="792226" y="284227"/>
                </a:lnTo>
                <a:lnTo>
                  <a:pt x="843534" y="281940"/>
                </a:lnTo>
                <a:lnTo>
                  <a:pt x="893698" y="279020"/>
                </a:lnTo>
                <a:lnTo>
                  <a:pt x="943864" y="275336"/>
                </a:lnTo>
                <a:lnTo>
                  <a:pt x="994028" y="270637"/>
                </a:lnTo>
                <a:lnTo>
                  <a:pt x="1044066" y="265049"/>
                </a:lnTo>
                <a:lnTo>
                  <a:pt x="1093978" y="258446"/>
                </a:lnTo>
                <a:lnTo>
                  <a:pt x="1143761" y="250699"/>
                </a:lnTo>
                <a:lnTo>
                  <a:pt x="1146683" y="250064"/>
                </a:lnTo>
                <a:lnTo>
                  <a:pt x="1119378" y="290830"/>
                </a:lnTo>
                <a:lnTo>
                  <a:pt x="1098296" y="337693"/>
                </a:lnTo>
                <a:lnTo>
                  <a:pt x="1100328" y="365506"/>
                </a:lnTo>
                <a:lnTo>
                  <a:pt x="1121283" y="380493"/>
                </a:lnTo>
                <a:lnTo>
                  <a:pt x="1147953" y="378842"/>
                </a:lnTo>
                <a:lnTo>
                  <a:pt x="1167638" y="356998"/>
                </a:lnTo>
                <a:lnTo>
                  <a:pt x="1187830" y="314961"/>
                </a:lnTo>
                <a:lnTo>
                  <a:pt x="1216025" y="279400"/>
                </a:lnTo>
                <a:lnTo>
                  <a:pt x="1250950" y="250699"/>
                </a:lnTo>
                <a:lnTo>
                  <a:pt x="1291335" y="229617"/>
                </a:lnTo>
                <a:lnTo>
                  <a:pt x="1316481" y="222250"/>
                </a:lnTo>
                <a:lnTo>
                  <a:pt x="1335658" y="216662"/>
                </a:lnTo>
                <a:lnTo>
                  <a:pt x="1352422" y="207773"/>
                </a:lnTo>
                <a:lnTo>
                  <a:pt x="1360043" y="191643"/>
                </a:lnTo>
                <a:lnTo>
                  <a:pt x="1360043" y="189993"/>
                </a:lnTo>
                <a:lnTo>
                  <a:pt x="1361947" y="188342"/>
                </a:lnTo>
                <a:lnTo>
                  <a:pt x="1361947" y="158877"/>
                </a:lnTo>
                <a:close/>
                <a:moveTo>
                  <a:pt x="-2663952" y="2781300"/>
                </a:moveTo>
              </a:path>
            </a:pathLst>
          </a:custGeom>
          <a:solidFill>
            <a:srgbClr val="EBBD1F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09" name="Rectangle 409"/>
          <p:cNvSpPr/>
          <p:nvPr/>
        </p:nvSpPr>
        <p:spPr>
          <a:xfrm>
            <a:off x="11418951" y="6397333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11</a:t>
            </a:r>
          </a:p>
        </p:txBody>
      </p:sp>
      <p:sp>
        <p:nvSpPr>
          <p:cNvPr id="410" name="Rectangle 410"/>
          <p:cNvSpPr/>
          <p:nvPr/>
        </p:nvSpPr>
        <p:spPr>
          <a:xfrm>
            <a:off x="630555" y="493213"/>
            <a:ext cx="4532552" cy="11085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Consultin</a:t>
            </a:r>
            <a:r>
              <a:rPr lang="fr-FR" sz="3604" b="1" i="0" spc="966" baseline="0" dirty="0">
                <a:solidFill>
                  <a:srgbClr val="466CAD"/>
                </a:solidFill>
                <a:latin typeface="Arial"/>
              </a:rPr>
              <a:t>g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i</a:t>
            </a:r>
            <a:r>
              <a:rPr lang="fr-FR" sz="3604" b="1" i="0" spc="1003" baseline="0" dirty="0">
                <a:solidFill>
                  <a:srgbClr val="466CAD"/>
                </a:solidFill>
                <a:latin typeface="Arial"/>
              </a:rPr>
              <a:t>s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tough, </a:t>
            </a:r>
          </a:p>
          <a:p>
            <a:pPr marL="0">
              <a:lnSpc>
                <a:spcPts val="3904"/>
              </a:lnSpc>
            </a:pP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ho</a:t>
            </a:r>
            <a:r>
              <a:rPr lang="fr-FR" sz="3604" b="1" i="0" spc="933" baseline="0" dirty="0">
                <a:solidFill>
                  <a:srgbClr val="466CAD"/>
                </a:solidFill>
                <a:latin typeface="Arial"/>
              </a:rPr>
              <a:t>w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d</a:t>
            </a:r>
            <a:r>
              <a:rPr lang="fr-FR" sz="3604" b="1" i="0" spc="1004" baseline="0" dirty="0">
                <a:solidFill>
                  <a:srgbClr val="466CAD"/>
                </a:solidFill>
                <a:latin typeface="Arial"/>
              </a:rPr>
              <a:t>o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peopl</a:t>
            </a:r>
            <a:r>
              <a:rPr lang="fr-FR" sz="3604" b="1" i="0" spc="955" baseline="0" dirty="0">
                <a:solidFill>
                  <a:srgbClr val="466CAD"/>
                </a:solidFill>
                <a:latin typeface="Arial"/>
              </a:rPr>
              <a:t>e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last?</a:t>
            </a:r>
          </a:p>
        </p:txBody>
      </p:sp>
      <p:sp>
        <p:nvSpPr>
          <p:cNvPr id="411" name="Rectangle 411"/>
          <p:cNvSpPr/>
          <p:nvPr/>
        </p:nvSpPr>
        <p:spPr>
          <a:xfrm>
            <a:off x="629919" y="2770884"/>
            <a:ext cx="4213317" cy="64970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Keep in mind that being a </a:t>
            </a:r>
          </a:p>
          <a:p>
            <a:pPr marL="0">
              <a:lnSpc>
                <a:spcPts val="2403"/>
              </a:lnSpc>
            </a:pPr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consultan</a:t>
            </a:r>
            <a:r>
              <a:rPr lang="fr-FR" sz="2027" b="1" i="0" spc="511" baseline="0" dirty="0">
                <a:solidFill>
                  <a:srgbClr val="4B71B1"/>
                </a:solidFill>
                <a:latin typeface="Arial"/>
              </a:rPr>
              <a:t>t</a:t>
            </a:r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ca</a:t>
            </a:r>
            <a:r>
              <a:rPr lang="fr-FR" sz="2027" b="1" i="0" spc="488" baseline="0" dirty="0">
                <a:solidFill>
                  <a:srgbClr val="4B71B1"/>
                </a:solidFill>
                <a:latin typeface="Arial"/>
              </a:rPr>
              <a:t>n</a:t>
            </a:r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b</a:t>
            </a:r>
            <a:r>
              <a:rPr lang="fr-FR" sz="2027" b="1" i="0" spc="551" baseline="0" dirty="0">
                <a:solidFill>
                  <a:srgbClr val="4B71B1"/>
                </a:solidFill>
                <a:latin typeface="Arial"/>
              </a:rPr>
              <a:t>e</a:t>
            </a:r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toug</a:t>
            </a:r>
            <a:r>
              <a:rPr lang="fr-FR" sz="2027" b="1" i="0" spc="496" baseline="0" dirty="0">
                <a:solidFill>
                  <a:srgbClr val="4B71B1"/>
                </a:solidFill>
                <a:latin typeface="Arial"/>
              </a:rPr>
              <a:t>h</a:t>
            </a:r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a</a:t>
            </a:r>
            <a:r>
              <a:rPr lang="fr-FR" sz="2027" b="1" i="0" spc="504" baseline="0" dirty="0">
                <a:solidFill>
                  <a:srgbClr val="4B71B1"/>
                </a:solidFill>
                <a:latin typeface="Arial"/>
              </a:rPr>
              <a:t>t</a:t>
            </a:r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times…</a:t>
            </a:r>
          </a:p>
        </p:txBody>
      </p:sp>
      <p:sp>
        <p:nvSpPr>
          <p:cNvPr id="412" name="Rectangle 412"/>
          <p:cNvSpPr/>
          <p:nvPr/>
        </p:nvSpPr>
        <p:spPr>
          <a:xfrm>
            <a:off x="629919" y="3531563"/>
            <a:ext cx="4107983" cy="270017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No direct P&amp;L management responsibilities </a:t>
            </a:r>
          </a:p>
          <a:p>
            <a:pPr marL="0">
              <a:lnSpc>
                <a:spcPts val="3153"/>
              </a:lnSpc>
            </a:pP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Lon</a:t>
            </a:r>
            <a:r>
              <a:rPr lang="fr-FR" sz="1577" b="0" i="0" spc="472" baseline="0" dirty="0">
                <a:solidFill>
                  <a:srgbClr val="555555"/>
                </a:solidFill>
                <a:latin typeface="Arial"/>
              </a:rPr>
              <a:t>g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workin</a:t>
            </a:r>
            <a:r>
              <a:rPr lang="fr-FR" sz="1577" b="0" i="0" spc="478" baseline="0" dirty="0">
                <a:solidFill>
                  <a:srgbClr val="555555"/>
                </a:solidFill>
                <a:latin typeface="Arial"/>
              </a:rPr>
              <a:t>g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hours</a:t>
            </a:r>
          </a:p>
          <a:p>
            <a:pPr marL="0">
              <a:lnSpc>
                <a:spcPts val="3380"/>
              </a:lnSpc>
            </a:pP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Lac</a:t>
            </a:r>
            <a:r>
              <a:rPr lang="fr-FR" sz="1577" b="0" i="0" spc="481" baseline="0" dirty="0">
                <a:solidFill>
                  <a:srgbClr val="555555"/>
                </a:solidFill>
                <a:latin typeface="Arial"/>
              </a:rPr>
              <a:t>k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577" b="0" i="0" spc="455" baseline="0" dirty="0">
                <a:solidFill>
                  <a:srgbClr val="555555"/>
                </a:solidFill>
                <a:latin typeface="Arial"/>
              </a:rPr>
              <a:t>f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visibilit</a:t>
            </a:r>
            <a:r>
              <a:rPr lang="fr-FR" sz="1577" b="0" i="0" spc="450" baseline="0" dirty="0">
                <a:solidFill>
                  <a:srgbClr val="555555"/>
                </a:solidFill>
                <a:latin typeface="Arial"/>
              </a:rPr>
              <a:t>y</a:t>
            </a:r>
            <a:r>
              <a:rPr lang="fr-FR" sz="1577" b="0" i="0" spc="489" baseline="0" dirty="0">
                <a:solidFill>
                  <a:srgbClr val="555555"/>
                </a:solidFill>
                <a:latin typeface="Arial"/>
              </a:rPr>
              <a:t>/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hig</a:t>
            </a:r>
            <a:r>
              <a:rPr lang="fr-FR" sz="1577" b="0" i="0" spc="469" baseline="0" dirty="0">
                <a:solidFill>
                  <a:srgbClr val="555555"/>
                </a:solidFill>
                <a:latin typeface="Arial"/>
              </a:rPr>
              <a:t>h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leve</a:t>
            </a:r>
            <a:r>
              <a:rPr lang="fr-FR" sz="1577" b="0" i="0" spc="416" baseline="0" dirty="0">
                <a:solidFill>
                  <a:srgbClr val="555555"/>
                </a:solidFill>
                <a:latin typeface="Arial"/>
              </a:rPr>
              <a:t>l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577" b="0" i="0" spc="456" baseline="0" dirty="0">
                <a:solidFill>
                  <a:srgbClr val="555555"/>
                </a:solidFill>
                <a:latin typeface="Arial"/>
              </a:rPr>
              <a:t>f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unpredictability </a:t>
            </a:r>
          </a:p>
          <a:p>
            <a:pPr marL="0">
              <a:lnSpc>
                <a:spcPts val="3155"/>
              </a:lnSpc>
            </a:pP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Ver</a:t>
            </a:r>
            <a:r>
              <a:rPr lang="fr-FR" sz="1577" b="0" i="0" spc="450" baseline="0" dirty="0">
                <a:solidFill>
                  <a:srgbClr val="555555"/>
                </a:solidFill>
                <a:latin typeface="Arial"/>
              </a:rPr>
              <a:t>y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limite</a:t>
            </a:r>
            <a:r>
              <a:rPr lang="fr-FR" sz="1577" b="0" i="0" spc="475" baseline="0" dirty="0">
                <a:solidFill>
                  <a:srgbClr val="555555"/>
                </a:solidFill>
                <a:latin typeface="Arial"/>
              </a:rPr>
              <a:t>d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contro</a:t>
            </a:r>
            <a:r>
              <a:rPr lang="fr-FR" sz="1577" b="0" i="0" spc="408" baseline="0" dirty="0">
                <a:solidFill>
                  <a:srgbClr val="555555"/>
                </a:solidFill>
                <a:latin typeface="Arial"/>
              </a:rPr>
              <a:t>l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ove</a:t>
            </a:r>
            <a:r>
              <a:rPr lang="fr-FR" sz="1577" b="0" i="0" spc="477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one’s staffing </a:t>
            </a:r>
          </a:p>
          <a:p>
            <a:pPr marL="0">
              <a:lnSpc>
                <a:spcPts val="3080"/>
              </a:lnSpc>
            </a:pP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Generalis</a:t>
            </a:r>
            <a:r>
              <a:rPr lang="fr-FR" sz="1577" b="0" i="0" spc="442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approach</a:t>
            </a:r>
          </a:p>
          <a:p>
            <a:pPr marL="0">
              <a:lnSpc>
                <a:spcPts val="3229"/>
              </a:lnSpc>
            </a:pPr>
            <a:r>
              <a:rPr lang="fr-FR" sz="1575" b="0" i="0" spc="0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1575" b="0" i="0" spc="469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575" b="0" i="0" spc="0" baseline="0" dirty="0">
                <a:solidFill>
                  <a:srgbClr val="555555"/>
                </a:solidFill>
                <a:latin typeface="Arial"/>
              </a:rPr>
              <a:t>systemati</a:t>
            </a:r>
            <a:r>
              <a:rPr lang="fr-FR" sz="1575" b="0" i="0" spc="461" baseline="0" dirty="0">
                <a:solidFill>
                  <a:srgbClr val="555555"/>
                </a:solidFill>
                <a:latin typeface="Arial"/>
              </a:rPr>
              <a:t>c</a:t>
            </a:r>
            <a:r>
              <a:rPr lang="fr-FR" sz="1575" b="0" i="0" spc="0" baseline="0" dirty="0">
                <a:solidFill>
                  <a:srgbClr val="555555"/>
                </a:solidFill>
                <a:latin typeface="Arial"/>
              </a:rPr>
              <a:t>follo</a:t>
            </a:r>
            <a:r>
              <a:rPr lang="fr-FR" sz="1575" b="0" i="0" spc="430" baseline="0" dirty="0">
                <a:solidFill>
                  <a:srgbClr val="555555"/>
                </a:solidFill>
                <a:latin typeface="Arial"/>
              </a:rPr>
              <a:t>w</a:t>
            </a:r>
            <a:r>
              <a:rPr lang="fr-FR" sz="1575" b="0" i="0" spc="0" baseline="0" dirty="0">
                <a:solidFill>
                  <a:srgbClr val="555555"/>
                </a:solidFill>
                <a:latin typeface="Arial"/>
              </a:rPr>
              <a:t>u</a:t>
            </a:r>
            <a:r>
              <a:rPr lang="fr-FR" sz="1575" b="0" i="0" spc="443" baseline="0" dirty="0">
                <a:solidFill>
                  <a:srgbClr val="555555"/>
                </a:solidFill>
                <a:latin typeface="Arial"/>
              </a:rPr>
              <a:t>p</a:t>
            </a:r>
            <a:r>
              <a:rPr lang="fr-FR" sz="1575" b="0" i="0" spc="0" baseline="0" dirty="0">
                <a:solidFill>
                  <a:srgbClr val="555555"/>
                </a:solidFill>
                <a:latin typeface="Arial"/>
              </a:rPr>
              <a:t>of </a:t>
            </a:r>
            <a:r>
              <a:rPr lang="fr-FR" sz="1575" b="0" i="0" spc="441" baseline="0" dirty="0">
                <a:solidFill>
                  <a:srgbClr val="555555"/>
                </a:solidFill>
                <a:latin typeface="Arial"/>
              </a:rPr>
              <a:t>a</a:t>
            </a:r>
            <a:r>
              <a:rPr lang="fr-FR" sz="1575" b="0" i="0" spc="0" baseline="0" dirty="0">
                <a:solidFill>
                  <a:srgbClr val="555555"/>
                </a:solidFill>
                <a:latin typeface="Arial"/>
              </a:rPr>
              <a:t>project</a:t>
            </a:r>
          </a:p>
          <a:p>
            <a:pPr marL="0">
              <a:lnSpc>
                <a:spcPts val="3153"/>
              </a:lnSpc>
            </a:pP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Alway</a:t>
            </a:r>
            <a:r>
              <a:rPr lang="fr-FR" sz="1577" b="0" i="0" spc="460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pressure</a:t>
            </a:r>
            <a:r>
              <a:rPr lang="fr-FR" sz="1577" b="0" i="0" spc="516" baseline="0" dirty="0">
                <a:solidFill>
                  <a:srgbClr val="555555"/>
                </a:solidFill>
                <a:latin typeface="Arial"/>
              </a:rPr>
              <a:t>d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577" b="0" i="0" spc="454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d</a:t>
            </a:r>
            <a:r>
              <a:rPr lang="fr-FR" sz="1577" b="0" i="0" spc="428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mor</a:t>
            </a:r>
            <a:r>
              <a:rPr lang="fr-FR" sz="1577" b="0" i="0" spc="445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(“extr</a:t>
            </a:r>
            <a:r>
              <a:rPr lang="fr-FR" sz="1577" b="0" i="0" spc="456" baseline="0" dirty="0">
                <a:solidFill>
                  <a:srgbClr val="555555"/>
                </a:solidFill>
                <a:latin typeface="Arial"/>
              </a:rPr>
              <a:t>a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mile”)</a:t>
            </a:r>
          </a:p>
        </p:txBody>
      </p:sp>
      <p:sp>
        <p:nvSpPr>
          <p:cNvPr id="413" name="Rectangle 413"/>
          <p:cNvSpPr/>
          <p:nvPr/>
        </p:nvSpPr>
        <p:spPr>
          <a:xfrm>
            <a:off x="7048881" y="2770884"/>
            <a:ext cx="4111995" cy="64970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…An</a:t>
            </a:r>
            <a:r>
              <a:rPr lang="fr-FR" sz="2027" b="1" i="0" spc="540" baseline="0" dirty="0">
                <a:solidFill>
                  <a:srgbClr val="4B71B1"/>
                </a:solidFill>
                <a:latin typeface="Arial"/>
              </a:rPr>
              <a:t>d</a:t>
            </a:r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man</a:t>
            </a:r>
            <a:r>
              <a:rPr lang="fr-FR" sz="2027" b="1" i="0" spc="490" baseline="0" dirty="0">
                <a:solidFill>
                  <a:srgbClr val="4B71B1"/>
                </a:solidFill>
                <a:latin typeface="Arial"/>
              </a:rPr>
              <a:t>y</a:t>
            </a:r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option</a:t>
            </a:r>
            <a:r>
              <a:rPr lang="fr-FR" sz="2027" b="1" i="0" spc="471" baseline="0" dirty="0">
                <a:solidFill>
                  <a:srgbClr val="4B71B1"/>
                </a:solidFill>
                <a:latin typeface="Arial"/>
              </a:rPr>
              <a:t>s</a:t>
            </a:r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exis</a:t>
            </a:r>
            <a:r>
              <a:rPr lang="fr-FR" sz="2027" b="1" i="0" spc="468" baseline="0" dirty="0">
                <a:solidFill>
                  <a:srgbClr val="4B71B1"/>
                </a:solidFill>
                <a:latin typeface="Arial"/>
              </a:rPr>
              <a:t>t</a:t>
            </a:r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whe</a:t>
            </a:r>
            <a:r>
              <a:rPr lang="fr-FR" sz="2027" b="1" i="0" spc="491" baseline="0" dirty="0">
                <a:solidFill>
                  <a:srgbClr val="4B71B1"/>
                </a:solidFill>
                <a:latin typeface="Arial"/>
              </a:rPr>
              <a:t>n</a:t>
            </a:r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it </a:t>
            </a:r>
          </a:p>
          <a:p>
            <a:pPr marL="0">
              <a:lnSpc>
                <a:spcPts val="2403"/>
              </a:lnSpc>
            </a:pPr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become</a:t>
            </a:r>
            <a:r>
              <a:rPr lang="fr-FR" sz="2027" b="1" i="0" spc="503" baseline="0" dirty="0">
                <a:solidFill>
                  <a:srgbClr val="4B71B1"/>
                </a:solidFill>
                <a:latin typeface="Arial"/>
              </a:rPr>
              <a:t>s</a:t>
            </a:r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to</a:t>
            </a:r>
            <a:r>
              <a:rPr lang="fr-FR" sz="2027" b="1" i="0" spc="535" baseline="0" dirty="0">
                <a:solidFill>
                  <a:srgbClr val="4B71B1"/>
                </a:solidFill>
                <a:latin typeface="Arial"/>
              </a:rPr>
              <a:t>o</a:t>
            </a:r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hard</a:t>
            </a:r>
          </a:p>
        </p:txBody>
      </p:sp>
      <p:sp>
        <p:nvSpPr>
          <p:cNvPr id="414" name="Rectangle 414"/>
          <p:cNvSpPr/>
          <p:nvPr/>
        </p:nvSpPr>
        <p:spPr>
          <a:xfrm>
            <a:off x="7048881" y="3588713"/>
            <a:ext cx="4524647" cy="50656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A</a:t>
            </a:r>
            <a:r>
              <a:rPr lang="fr-FR" sz="1577" b="0" i="0" spc="473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577" b="0" i="0" spc="462" baseline="0" dirty="0">
                <a:solidFill>
                  <a:srgbClr val="555555"/>
                </a:solidFill>
                <a:latin typeface="Arial"/>
              </a:rPr>
              <a:t>a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consultant</a:t>
            </a:r>
            <a:r>
              <a:rPr lang="fr-FR" sz="1577" b="0" i="0" spc="440" baseline="0" dirty="0">
                <a:solidFill>
                  <a:srgbClr val="555555"/>
                </a:solidFill>
                <a:latin typeface="Arial"/>
              </a:rPr>
              <a:t>: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externships</a:t>
            </a:r>
            <a:r>
              <a:rPr lang="fr-FR" sz="1577" b="0" i="0" spc="503" baseline="0" dirty="0">
                <a:solidFill>
                  <a:srgbClr val="555555"/>
                </a:solidFill>
                <a:latin typeface="Arial"/>
              </a:rPr>
              <a:t>,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temporar</a:t>
            </a:r>
            <a:r>
              <a:rPr lang="fr-FR" sz="1577" b="0" i="0" spc="495" baseline="0" dirty="0">
                <a:solidFill>
                  <a:srgbClr val="555555"/>
                </a:solidFill>
                <a:latin typeface="Arial"/>
              </a:rPr>
              <a:t>y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transfers, </a:t>
            </a:r>
          </a:p>
          <a:p>
            <a:pPr marL="0">
              <a:lnSpc>
                <a:spcPts val="1877"/>
              </a:lnSpc>
            </a:pP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leave</a:t>
            </a:r>
            <a:r>
              <a:rPr lang="fr-FR" sz="1577" b="0" i="0" spc="409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577" b="0" i="0" spc="441" baseline="0" dirty="0">
                <a:solidFill>
                  <a:srgbClr val="555555"/>
                </a:solidFill>
                <a:latin typeface="Arial"/>
              </a:rPr>
              <a:t>f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absence</a:t>
            </a:r>
            <a:r>
              <a:rPr lang="fr-FR" sz="1577" b="0" i="0" spc="459" baseline="0" dirty="0">
                <a:solidFill>
                  <a:srgbClr val="555555"/>
                </a:solidFill>
                <a:latin typeface="Arial"/>
              </a:rPr>
              <a:t>,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wor</a:t>
            </a:r>
            <a:r>
              <a:rPr lang="fr-FR" sz="1577" b="0" i="0" spc="459" baseline="0" dirty="0">
                <a:solidFill>
                  <a:srgbClr val="555555"/>
                </a:solidFill>
                <a:latin typeface="Arial"/>
              </a:rPr>
              <a:t>k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577" b="0" i="0" spc="430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internal projects…</a:t>
            </a:r>
          </a:p>
        </p:txBody>
      </p:sp>
      <p:sp>
        <p:nvSpPr>
          <p:cNvPr id="415" name="Rectangle 415"/>
          <p:cNvSpPr/>
          <p:nvPr/>
        </p:nvSpPr>
        <p:spPr>
          <a:xfrm>
            <a:off x="7048881" y="4323154"/>
            <a:ext cx="4399249" cy="5160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Man</a:t>
            </a:r>
            <a:r>
              <a:rPr lang="fr-FR" sz="1577" b="0" i="0" spc="498" baseline="0" dirty="0">
                <a:solidFill>
                  <a:srgbClr val="555555"/>
                </a:solidFill>
                <a:latin typeface="Arial"/>
              </a:rPr>
              <a:t>y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exciting caree</a:t>
            </a:r>
            <a:r>
              <a:rPr lang="fr-FR" sz="1577" b="0" i="0" spc="471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opportunitie</a:t>
            </a:r>
            <a:r>
              <a:rPr lang="fr-FR" sz="1577" b="0" i="0" spc="423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exis</a:t>
            </a:r>
            <a:r>
              <a:rPr lang="fr-FR" sz="1577" b="0" i="0" spc="426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fo</a:t>
            </a:r>
            <a:r>
              <a:rPr lang="fr-FR" sz="1577" b="0" i="0" spc="460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those</a:t>
            </a:r>
          </a:p>
          <a:p>
            <a:pPr marL="0">
              <a:lnSpc>
                <a:spcPts val="1952"/>
              </a:lnSpc>
            </a:pP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wh</a:t>
            </a:r>
            <a:r>
              <a:rPr lang="fr-FR" sz="1577" b="0" i="0" spc="440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decid</a:t>
            </a:r>
            <a:r>
              <a:rPr lang="fr-FR" sz="1577" b="0" i="0" spc="400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577" b="0" i="0" spc="452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leave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" name="Freeform 4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17" name="Freeform 417"/>
          <p:cNvSpPr/>
          <p:nvPr/>
        </p:nvSpPr>
        <p:spPr>
          <a:xfrm>
            <a:off x="671512" y="1147729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noFill/>
          <a:ln w="10666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418" name="Picture 418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419" name="Freeform 419"/>
          <p:cNvSpPr/>
          <p:nvPr/>
        </p:nvSpPr>
        <p:spPr>
          <a:xfrm>
            <a:off x="666750" y="1143030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20" name="Freeform 420"/>
          <p:cNvSpPr/>
          <p:nvPr/>
        </p:nvSpPr>
        <p:spPr>
          <a:xfrm>
            <a:off x="671512" y="1147729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noFill/>
          <a:ln w="10666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21" name="Freeform 421"/>
          <p:cNvSpPr/>
          <p:nvPr/>
        </p:nvSpPr>
        <p:spPr>
          <a:xfrm>
            <a:off x="3600450" y="2276856"/>
            <a:ext cx="148335" cy="57531"/>
          </a:xfrm>
          <a:custGeom>
            <a:avLst/>
            <a:gdLst/>
            <a:ahLst/>
            <a:cxnLst/>
            <a:rect l="0" t="0" r="0" b="0"/>
            <a:pathLst>
              <a:path w="148335" h="57531">
                <a:moveTo>
                  <a:pt x="148335" y="28829"/>
                </a:moveTo>
                <a:lnTo>
                  <a:pt x="141478" y="9017"/>
                </a:lnTo>
                <a:lnTo>
                  <a:pt x="120650" y="0"/>
                </a:lnTo>
                <a:lnTo>
                  <a:pt x="27685" y="0"/>
                </a:lnTo>
                <a:lnTo>
                  <a:pt x="6984" y="9017"/>
                </a:lnTo>
                <a:lnTo>
                  <a:pt x="0" y="28829"/>
                </a:lnTo>
                <a:lnTo>
                  <a:pt x="6984" y="48641"/>
                </a:lnTo>
                <a:lnTo>
                  <a:pt x="27685" y="57531"/>
                </a:lnTo>
                <a:lnTo>
                  <a:pt x="120650" y="57531"/>
                </a:lnTo>
                <a:lnTo>
                  <a:pt x="141478" y="48641"/>
                </a:lnTo>
                <a:lnTo>
                  <a:pt x="148335" y="28829"/>
                </a:lnTo>
                <a:close/>
                <a:moveTo>
                  <a:pt x="951865" y="4581144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22" name="Freeform 422"/>
          <p:cNvSpPr/>
          <p:nvPr/>
        </p:nvSpPr>
        <p:spPr>
          <a:xfrm>
            <a:off x="3600450" y="2101470"/>
            <a:ext cx="148335" cy="57403"/>
          </a:xfrm>
          <a:custGeom>
            <a:avLst/>
            <a:gdLst/>
            <a:ahLst/>
            <a:cxnLst/>
            <a:rect l="0" t="0" r="0" b="0"/>
            <a:pathLst>
              <a:path w="148335" h="57403">
                <a:moveTo>
                  <a:pt x="148335" y="28702"/>
                </a:moveTo>
                <a:lnTo>
                  <a:pt x="141478" y="8890"/>
                </a:lnTo>
                <a:lnTo>
                  <a:pt x="120650" y="0"/>
                </a:lnTo>
                <a:lnTo>
                  <a:pt x="27685" y="0"/>
                </a:lnTo>
                <a:lnTo>
                  <a:pt x="6984" y="8890"/>
                </a:lnTo>
                <a:lnTo>
                  <a:pt x="0" y="28702"/>
                </a:lnTo>
                <a:lnTo>
                  <a:pt x="6984" y="48514"/>
                </a:lnTo>
                <a:lnTo>
                  <a:pt x="27685" y="57403"/>
                </a:lnTo>
                <a:lnTo>
                  <a:pt x="120650" y="57403"/>
                </a:lnTo>
                <a:lnTo>
                  <a:pt x="141478" y="48514"/>
                </a:lnTo>
                <a:lnTo>
                  <a:pt x="148335" y="28702"/>
                </a:lnTo>
                <a:close/>
                <a:moveTo>
                  <a:pt x="1127378" y="4756530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23" name="Freeform 423"/>
          <p:cNvSpPr/>
          <p:nvPr/>
        </p:nvSpPr>
        <p:spPr>
          <a:xfrm>
            <a:off x="3600450" y="1933575"/>
            <a:ext cx="148335" cy="56135"/>
          </a:xfrm>
          <a:custGeom>
            <a:avLst/>
            <a:gdLst/>
            <a:ahLst/>
            <a:cxnLst/>
            <a:rect l="0" t="0" r="0" b="0"/>
            <a:pathLst>
              <a:path w="148335" h="56135">
                <a:moveTo>
                  <a:pt x="148335" y="28067"/>
                </a:moveTo>
                <a:lnTo>
                  <a:pt x="141478" y="8764"/>
                </a:lnTo>
                <a:lnTo>
                  <a:pt x="120650" y="0"/>
                </a:lnTo>
                <a:lnTo>
                  <a:pt x="27685" y="0"/>
                </a:lnTo>
                <a:lnTo>
                  <a:pt x="6984" y="8764"/>
                </a:lnTo>
                <a:lnTo>
                  <a:pt x="0" y="28067"/>
                </a:lnTo>
                <a:lnTo>
                  <a:pt x="6984" y="47372"/>
                </a:lnTo>
                <a:lnTo>
                  <a:pt x="27685" y="56135"/>
                </a:lnTo>
                <a:lnTo>
                  <a:pt x="120650" y="56135"/>
                </a:lnTo>
                <a:lnTo>
                  <a:pt x="141478" y="47372"/>
                </a:lnTo>
                <a:lnTo>
                  <a:pt x="148335" y="28067"/>
                </a:lnTo>
                <a:close/>
                <a:moveTo>
                  <a:pt x="1295908" y="4924425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24" name="Freeform 424"/>
          <p:cNvSpPr/>
          <p:nvPr/>
        </p:nvSpPr>
        <p:spPr>
          <a:xfrm>
            <a:off x="4370704" y="3175762"/>
            <a:ext cx="148336" cy="57531"/>
          </a:xfrm>
          <a:custGeom>
            <a:avLst/>
            <a:gdLst/>
            <a:ahLst/>
            <a:cxnLst/>
            <a:rect l="0" t="0" r="0" b="0"/>
            <a:pathLst>
              <a:path w="148336" h="57531">
                <a:moveTo>
                  <a:pt x="148336" y="28703"/>
                </a:moveTo>
                <a:lnTo>
                  <a:pt x="141479" y="9017"/>
                </a:lnTo>
                <a:lnTo>
                  <a:pt x="120650" y="0"/>
                </a:lnTo>
                <a:lnTo>
                  <a:pt x="27686" y="0"/>
                </a:lnTo>
                <a:lnTo>
                  <a:pt x="6986" y="9017"/>
                </a:lnTo>
                <a:lnTo>
                  <a:pt x="0" y="28703"/>
                </a:lnTo>
                <a:lnTo>
                  <a:pt x="6986" y="48515"/>
                </a:lnTo>
                <a:lnTo>
                  <a:pt x="27686" y="57531"/>
                </a:lnTo>
                <a:lnTo>
                  <a:pt x="120650" y="57531"/>
                </a:lnTo>
                <a:lnTo>
                  <a:pt x="141479" y="48515"/>
                </a:lnTo>
                <a:lnTo>
                  <a:pt x="148336" y="28703"/>
                </a:lnTo>
                <a:close/>
                <a:moveTo>
                  <a:pt x="-717169" y="3682238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25" name="Freeform 425"/>
          <p:cNvSpPr/>
          <p:nvPr/>
        </p:nvSpPr>
        <p:spPr>
          <a:xfrm>
            <a:off x="4370704" y="3000248"/>
            <a:ext cx="148336" cy="57531"/>
          </a:xfrm>
          <a:custGeom>
            <a:avLst/>
            <a:gdLst/>
            <a:ahLst/>
            <a:cxnLst/>
            <a:rect l="0" t="0" r="0" b="0"/>
            <a:pathLst>
              <a:path w="148336" h="57531">
                <a:moveTo>
                  <a:pt x="148336" y="28702"/>
                </a:moveTo>
                <a:lnTo>
                  <a:pt x="141479" y="9018"/>
                </a:lnTo>
                <a:lnTo>
                  <a:pt x="120650" y="0"/>
                </a:lnTo>
                <a:lnTo>
                  <a:pt x="27686" y="0"/>
                </a:lnTo>
                <a:lnTo>
                  <a:pt x="6986" y="9018"/>
                </a:lnTo>
                <a:lnTo>
                  <a:pt x="0" y="28702"/>
                </a:lnTo>
                <a:lnTo>
                  <a:pt x="6986" y="48514"/>
                </a:lnTo>
                <a:lnTo>
                  <a:pt x="27686" y="57531"/>
                </a:lnTo>
                <a:lnTo>
                  <a:pt x="120650" y="57531"/>
                </a:lnTo>
                <a:lnTo>
                  <a:pt x="141479" y="48514"/>
                </a:lnTo>
                <a:lnTo>
                  <a:pt x="148336" y="28702"/>
                </a:lnTo>
                <a:close/>
                <a:moveTo>
                  <a:pt x="-541654" y="385775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26" name="Freeform 426"/>
          <p:cNvSpPr/>
          <p:nvPr/>
        </p:nvSpPr>
        <p:spPr>
          <a:xfrm>
            <a:off x="4370704" y="2832354"/>
            <a:ext cx="148336" cy="56135"/>
          </a:xfrm>
          <a:custGeom>
            <a:avLst/>
            <a:gdLst/>
            <a:ahLst/>
            <a:cxnLst/>
            <a:rect l="0" t="0" r="0" b="0"/>
            <a:pathLst>
              <a:path w="148336" h="56135">
                <a:moveTo>
                  <a:pt x="148336" y="28068"/>
                </a:moveTo>
                <a:lnTo>
                  <a:pt x="141479" y="8763"/>
                </a:lnTo>
                <a:lnTo>
                  <a:pt x="120650" y="0"/>
                </a:lnTo>
                <a:lnTo>
                  <a:pt x="27686" y="0"/>
                </a:lnTo>
                <a:lnTo>
                  <a:pt x="6986" y="8763"/>
                </a:lnTo>
                <a:lnTo>
                  <a:pt x="0" y="28068"/>
                </a:lnTo>
                <a:lnTo>
                  <a:pt x="6986" y="47371"/>
                </a:lnTo>
                <a:lnTo>
                  <a:pt x="27686" y="56135"/>
                </a:lnTo>
                <a:lnTo>
                  <a:pt x="120650" y="56135"/>
                </a:lnTo>
                <a:lnTo>
                  <a:pt x="141479" y="47371"/>
                </a:lnTo>
                <a:lnTo>
                  <a:pt x="148336" y="28068"/>
                </a:lnTo>
                <a:close/>
                <a:moveTo>
                  <a:pt x="-373126" y="4025646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27" name="Freeform 427"/>
          <p:cNvSpPr/>
          <p:nvPr/>
        </p:nvSpPr>
        <p:spPr>
          <a:xfrm>
            <a:off x="5092319" y="4074542"/>
            <a:ext cx="148335" cy="57531"/>
          </a:xfrm>
          <a:custGeom>
            <a:avLst/>
            <a:gdLst/>
            <a:ahLst/>
            <a:cxnLst/>
            <a:rect l="0" t="0" r="0" b="0"/>
            <a:pathLst>
              <a:path w="148335" h="57531">
                <a:moveTo>
                  <a:pt x="148335" y="28829"/>
                </a:moveTo>
                <a:lnTo>
                  <a:pt x="141351" y="9016"/>
                </a:lnTo>
                <a:lnTo>
                  <a:pt x="120650" y="0"/>
                </a:lnTo>
                <a:lnTo>
                  <a:pt x="27685" y="0"/>
                </a:lnTo>
                <a:lnTo>
                  <a:pt x="6858" y="9016"/>
                </a:lnTo>
                <a:lnTo>
                  <a:pt x="0" y="28829"/>
                </a:lnTo>
                <a:lnTo>
                  <a:pt x="6858" y="48641"/>
                </a:lnTo>
                <a:lnTo>
                  <a:pt x="27685" y="57531"/>
                </a:lnTo>
                <a:lnTo>
                  <a:pt x="120650" y="57531"/>
                </a:lnTo>
                <a:lnTo>
                  <a:pt x="141351" y="48641"/>
                </a:lnTo>
                <a:lnTo>
                  <a:pt x="148335" y="28829"/>
                </a:lnTo>
                <a:close/>
                <a:moveTo>
                  <a:pt x="-2337690" y="2783458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28" name="Freeform 428"/>
          <p:cNvSpPr/>
          <p:nvPr/>
        </p:nvSpPr>
        <p:spPr>
          <a:xfrm>
            <a:off x="5092319" y="3906774"/>
            <a:ext cx="148335" cy="57531"/>
          </a:xfrm>
          <a:custGeom>
            <a:avLst/>
            <a:gdLst/>
            <a:ahLst/>
            <a:cxnLst/>
            <a:rect l="0" t="0" r="0" b="0"/>
            <a:pathLst>
              <a:path w="148335" h="57531">
                <a:moveTo>
                  <a:pt x="148335" y="28703"/>
                </a:moveTo>
                <a:lnTo>
                  <a:pt x="141351" y="8891"/>
                </a:lnTo>
                <a:lnTo>
                  <a:pt x="120650" y="0"/>
                </a:lnTo>
                <a:lnTo>
                  <a:pt x="27685" y="0"/>
                </a:lnTo>
                <a:lnTo>
                  <a:pt x="6858" y="8891"/>
                </a:lnTo>
                <a:lnTo>
                  <a:pt x="0" y="28703"/>
                </a:lnTo>
                <a:lnTo>
                  <a:pt x="6858" y="48515"/>
                </a:lnTo>
                <a:lnTo>
                  <a:pt x="27685" y="57531"/>
                </a:lnTo>
                <a:lnTo>
                  <a:pt x="120650" y="57531"/>
                </a:lnTo>
                <a:lnTo>
                  <a:pt x="141351" y="48515"/>
                </a:lnTo>
                <a:lnTo>
                  <a:pt x="148335" y="28703"/>
                </a:lnTo>
                <a:close/>
                <a:moveTo>
                  <a:pt x="-2169796" y="2951226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29" name="Freeform 429"/>
          <p:cNvSpPr/>
          <p:nvPr/>
        </p:nvSpPr>
        <p:spPr>
          <a:xfrm>
            <a:off x="5938646" y="5174870"/>
            <a:ext cx="148337" cy="57530"/>
          </a:xfrm>
          <a:custGeom>
            <a:avLst/>
            <a:gdLst/>
            <a:ahLst/>
            <a:cxnLst/>
            <a:rect l="0" t="0" r="0" b="0"/>
            <a:pathLst>
              <a:path w="148337" h="57530">
                <a:moveTo>
                  <a:pt x="148337" y="28701"/>
                </a:moveTo>
                <a:lnTo>
                  <a:pt x="141479" y="9016"/>
                </a:lnTo>
                <a:lnTo>
                  <a:pt x="120650" y="0"/>
                </a:lnTo>
                <a:lnTo>
                  <a:pt x="27687" y="0"/>
                </a:lnTo>
                <a:lnTo>
                  <a:pt x="6986" y="9016"/>
                </a:lnTo>
                <a:lnTo>
                  <a:pt x="0" y="28701"/>
                </a:lnTo>
                <a:lnTo>
                  <a:pt x="6986" y="48513"/>
                </a:lnTo>
                <a:lnTo>
                  <a:pt x="27687" y="57530"/>
                </a:lnTo>
                <a:lnTo>
                  <a:pt x="120650" y="57530"/>
                </a:lnTo>
                <a:lnTo>
                  <a:pt x="141479" y="48513"/>
                </a:lnTo>
                <a:lnTo>
                  <a:pt x="148337" y="28701"/>
                </a:lnTo>
                <a:close/>
                <a:moveTo>
                  <a:pt x="-4284217" y="1683130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30" name="Freeform 430"/>
          <p:cNvSpPr/>
          <p:nvPr/>
        </p:nvSpPr>
        <p:spPr>
          <a:xfrm>
            <a:off x="5938646" y="4999355"/>
            <a:ext cx="148337" cy="57531"/>
          </a:xfrm>
          <a:custGeom>
            <a:avLst/>
            <a:gdLst/>
            <a:ahLst/>
            <a:cxnLst/>
            <a:rect l="0" t="0" r="0" b="0"/>
            <a:pathLst>
              <a:path w="148337" h="57531">
                <a:moveTo>
                  <a:pt x="148337" y="28829"/>
                </a:moveTo>
                <a:lnTo>
                  <a:pt x="141479" y="9018"/>
                </a:lnTo>
                <a:lnTo>
                  <a:pt x="120650" y="0"/>
                </a:lnTo>
                <a:lnTo>
                  <a:pt x="27687" y="0"/>
                </a:lnTo>
                <a:lnTo>
                  <a:pt x="6986" y="9018"/>
                </a:lnTo>
                <a:lnTo>
                  <a:pt x="0" y="28829"/>
                </a:lnTo>
                <a:lnTo>
                  <a:pt x="6986" y="48515"/>
                </a:lnTo>
                <a:lnTo>
                  <a:pt x="27687" y="57531"/>
                </a:lnTo>
                <a:lnTo>
                  <a:pt x="120650" y="57531"/>
                </a:lnTo>
                <a:lnTo>
                  <a:pt x="141479" y="48515"/>
                </a:lnTo>
                <a:lnTo>
                  <a:pt x="148337" y="28829"/>
                </a:lnTo>
                <a:close/>
                <a:moveTo>
                  <a:pt x="-4108830" y="1858645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31" name="Freeform 431"/>
          <p:cNvSpPr/>
          <p:nvPr/>
        </p:nvSpPr>
        <p:spPr>
          <a:xfrm>
            <a:off x="5938646" y="4831461"/>
            <a:ext cx="148337" cy="57532"/>
          </a:xfrm>
          <a:custGeom>
            <a:avLst/>
            <a:gdLst/>
            <a:ahLst/>
            <a:cxnLst/>
            <a:rect l="0" t="0" r="0" b="0"/>
            <a:pathLst>
              <a:path w="148337" h="57532">
                <a:moveTo>
                  <a:pt x="148337" y="28829"/>
                </a:moveTo>
                <a:lnTo>
                  <a:pt x="141479" y="9017"/>
                </a:lnTo>
                <a:lnTo>
                  <a:pt x="120650" y="0"/>
                </a:lnTo>
                <a:lnTo>
                  <a:pt x="27687" y="0"/>
                </a:lnTo>
                <a:lnTo>
                  <a:pt x="6986" y="9017"/>
                </a:lnTo>
                <a:lnTo>
                  <a:pt x="0" y="28829"/>
                </a:lnTo>
                <a:lnTo>
                  <a:pt x="6986" y="48641"/>
                </a:lnTo>
                <a:lnTo>
                  <a:pt x="27687" y="57532"/>
                </a:lnTo>
                <a:lnTo>
                  <a:pt x="120650" y="57532"/>
                </a:lnTo>
                <a:lnTo>
                  <a:pt x="141479" y="48641"/>
                </a:lnTo>
                <a:lnTo>
                  <a:pt x="148337" y="28829"/>
                </a:lnTo>
                <a:close/>
                <a:moveTo>
                  <a:pt x="-3940936" y="2026539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32" name="Freeform 432"/>
          <p:cNvSpPr/>
          <p:nvPr/>
        </p:nvSpPr>
        <p:spPr>
          <a:xfrm>
            <a:off x="6842886" y="6133237"/>
            <a:ext cx="148464" cy="57518"/>
          </a:xfrm>
          <a:custGeom>
            <a:avLst/>
            <a:gdLst/>
            <a:ahLst/>
            <a:cxnLst/>
            <a:rect l="0" t="0" r="0" b="0"/>
            <a:pathLst>
              <a:path w="148464" h="57518">
                <a:moveTo>
                  <a:pt x="148464" y="28753"/>
                </a:moveTo>
                <a:lnTo>
                  <a:pt x="141479" y="8991"/>
                </a:lnTo>
                <a:lnTo>
                  <a:pt x="120650" y="0"/>
                </a:lnTo>
                <a:lnTo>
                  <a:pt x="27686" y="0"/>
                </a:lnTo>
                <a:lnTo>
                  <a:pt x="6985" y="8991"/>
                </a:lnTo>
                <a:lnTo>
                  <a:pt x="0" y="28753"/>
                </a:lnTo>
                <a:lnTo>
                  <a:pt x="6985" y="48527"/>
                </a:lnTo>
                <a:lnTo>
                  <a:pt x="27686" y="57518"/>
                </a:lnTo>
                <a:lnTo>
                  <a:pt x="120650" y="57518"/>
                </a:lnTo>
                <a:lnTo>
                  <a:pt x="141479" y="48527"/>
                </a:lnTo>
                <a:lnTo>
                  <a:pt x="148464" y="28753"/>
                </a:lnTo>
                <a:close/>
                <a:moveTo>
                  <a:pt x="-6146876" y="724763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33" name="Freeform 433"/>
          <p:cNvSpPr/>
          <p:nvPr/>
        </p:nvSpPr>
        <p:spPr>
          <a:xfrm>
            <a:off x="6842886" y="5965368"/>
            <a:ext cx="148464" cy="57519"/>
          </a:xfrm>
          <a:custGeom>
            <a:avLst/>
            <a:gdLst/>
            <a:ahLst/>
            <a:cxnLst/>
            <a:rect l="0" t="0" r="0" b="0"/>
            <a:pathLst>
              <a:path w="148464" h="57519">
                <a:moveTo>
                  <a:pt x="148464" y="28753"/>
                </a:moveTo>
                <a:lnTo>
                  <a:pt x="141479" y="8992"/>
                </a:lnTo>
                <a:lnTo>
                  <a:pt x="120650" y="0"/>
                </a:lnTo>
                <a:lnTo>
                  <a:pt x="27686" y="0"/>
                </a:lnTo>
                <a:lnTo>
                  <a:pt x="6985" y="8992"/>
                </a:lnTo>
                <a:lnTo>
                  <a:pt x="0" y="28753"/>
                </a:lnTo>
                <a:lnTo>
                  <a:pt x="6985" y="48527"/>
                </a:lnTo>
                <a:lnTo>
                  <a:pt x="27686" y="57519"/>
                </a:lnTo>
                <a:lnTo>
                  <a:pt x="120650" y="57519"/>
                </a:lnTo>
                <a:lnTo>
                  <a:pt x="141479" y="48527"/>
                </a:lnTo>
                <a:lnTo>
                  <a:pt x="148464" y="28753"/>
                </a:lnTo>
                <a:close/>
                <a:moveTo>
                  <a:pt x="-5979007" y="89263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34" name="Freeform 434"/>
          <p:cNvSpPr/>
          <p:nvPr/>
        </p:nvSpPr>
        <p:spPr>
          <a:xfrm>
            <a:off x="0" y="4724400"/>
            <a:ext cx="2105025" cy="2133218"/>
          </a:xfrm>
          <a:custGeom>
            <a:avLst/>
            <a:gdLst/>
            <a:ahLst/>
            <a:cxnLst/>
            <a:rect l="0" t="0" r="0" b="0"/>
            <a:pathLst>
              <a:path w="2105025" h="2133218">
                <a:moveTo>
                  <a:pt x="519391" y="0"/>
                </a:moveTo>
                <a:lnTo>
                  <a:pt x="470916" y="762"/>
                </a:lnTo>
                <a:lnTo>
                  <a:pt x="422795" y="2921"/>
                </a:lnTo>
                <a:lnTo>
                  <a:pt x="375069" y="6477"/>
                </a:lnTo>
                <a:lnTo>
                  <a:pt x="327736" y="11430"/>
                </a:lnTo>
                <a:lnTo>
                  <a:pt x="280835" y="17780"/>
                </a:lnTo>
                <a:lnTo>
                  <a:pt x="234365" y="25527"/>
                </a:lnTo>
                <a:lnTo>
                  <a:pt x="188379" y="34545"/>
                </a:lnTo>
                <a:lnTo>
                  <a:pt x="142875" y="44958"/>
                </a:lnTo>
                <a:lnTo>
                  <a:pt x="97867" y="56515"/>
                </a:lnTo>
                <a:lnTo>
                  <a:pt x="53394" y="69470"/>
                </a:lnTo>
                <a:lnTo>
                  <a:pt x="9468" y="83693"/>
                </a:lnTo>
                <a:lnTo>
                  <a:pt x="0" y="86996"/>
                </a:lnTo>
                <a:lnTo>
                  <a:pt x="0" y="2133218"/>
                </a:lnTo>
                <a:lnTo>
                  <a:pt x="2006854" y="2133218"/>
                </a:lnTo>
                <a:lnTo>
                  <a:pt x="2021204" y="2092798"/>
                </a:lnTo>
                <a:lnTo>
                  <a:pt x="2035429" y="2048931"/>
                </a:lnTo>
                <a:lnTo>
                  <a:pt x="2048382" y="2004518"/>
                </a:lnTo>
                <a:lnTo>
                  <a:pt x="2060067" y="1959572"/>
                </a:lnTo>
                <a:lnTo>
                  <a:pt x="2070480" y="1914132"/>
                </a:lnTo>
                <a:lnTo>
                  <a:pt x="2079498" y="1868196"/>
                </a:lnTo>
                <a:lnTo>
                  <a:pt x="2087245" y="1821790"/>
                </a:lnTo>
                <a:lnTo>
                  <a:pt x="2093595" y="1774953"/>
                </a:lnTo>
                <a:lnTo>
                  <a:pt x="2098548" y="1727683"/>
                </a:lnTo>
                <a:lnTo>
                  <a:pt x="2102104" y="1680007"/>
                </a:lnTo>
                <a:lnTo>
                  <a:pt x="2104263" y="1631963"/>
                </a:lnTo>
                <a:lnTo>
                  <a:pt x="2105025" y="1583551"/>
                </a:lnTo>
                <a:lnTo>
                  <a:pt x="2104263" y="1535126"/>
                </a:lnTo>
                <a:lnTo>
                  <a:pt x="2102104" y="1487082"/>
                </a:lnTo>
                <a:lnTo>
                  <a:pt x="2098548" y="1439406"/>
                </a:lnTo>
                <a:lnTo>
                  <a:pt x="2093595" y="1392136"/>
                </a:lnTo>
                <a:lnTo>
                  <a:pt x="2087245" y="1345286"/>
                </a:lnTo>
                <a:lnTo>
                  <a:pt x="2079498" y="1298880"/>
                </a:lnTo>
                <a:lnTo>
                  <a:pt x="2070480" y="1252944"/>
                </a:lnTo>
                <a:lnTo>
                  <a:pt x="2060067" y="1207504"/>
                </a:lnTo>
                <a:lnTo>
                  <a:pt x="2048382" y="1162559"/>
                </a:lnTo>
                <a:lnTo>
                  <a:pt x="2035429" y="1118134"/>
                </a:lnTo>
                <a:lnTo>
                  <a:pt x="2021204" y="1074268"/>
                </a:lnTo>
                <a:lnTo>
                  <a:pt x="2005838" y="1030974"/>
                </a:lnTo>
                <a:lnTo>
                  <a:pt x="1989201" y="988264"/>
                </a:lnTo>
                <a:lnTo>
                  <a:pt x="1971294" y="946163"/>
                </a:lnTo>
                <a:lnTo>
                  <a:pt x="1952370" y="904685"/>
                </a:lnTo>
                <a:lnTo>
                  <a:pt x="1932177" y="863867"/>
                </a:lnTo>
                <a:lnTo>
                  <a:pt x="1910969" y="823723"/>
                </a:lnTo>
                <a:lnTo>
                  <a:pt x="1888489" y="784225"/>
                </a:lnTo>
                <a:lnTo>
                  <a:pt x="1864995" y="745490"/>
                </a:lnTo>
                <a:lnTo>
                  <a:pt x="1840483" y="707517"/>
                </a:lnTo>
                <a:lnTo>
                  <a:pt x="1814957" y="670306"/>
                </a:lnTo>
                <a:lnTo>
                  <a:pt x="1788286" y="633858"/>
                </a:lnTo>
                <a:lnTo>
                  <a:pt x="1760727" y="598170"/>
                </a:lnTo>
                <a:lnTo>
                  <a:pt x="1732152" y="563245"/>
                </a:lnTo>
                <a:lnTo>
                  <a:pt x="1702561" y="529209"/>
                </a:lnTo>
                <a:lnTo>
                  <a:pt x="1672082" y="496062"/>
                </a:lnTo>
                <a:lnTo>
                  <a:pt x="1640585" y="463805"/>
                </a:lnTo>
                <a:lnTo>
                  <a:pt x="1608200" y="432436"/>
                </a:lnTo>
                <a:lnTo>
                  <a:pt x="1575053" y="401955"/>
                </a:lnTo>
                <a:lnTo>
                  <a:pt x="1541017" y="372365"/>
                </a:lnTo>
                <a:lnTo>
                  <a:pt x="1506092" y="343790"/>
                </a:lnTo>
                <a:lnTo>
                  <a:pt x="1470405" y="316230"/>
                </a:lnTo>
                <a:lnTo>
                  <a:pt x="1433830" y="289687"/>
                </a:lnTo>
                <a:lnTo>
                  <a:pt x="1396491" y="264161"/>
                </a:lnTo>
                <a:lnTo>
                  <a:pt x="1358519" y="239649"/>
                </a:lnTo>
                <a:lnTo>
                  <a:pt x="1319657" y="216155"/>
                </a:lnTo>
                <a:lnTo>
                  <a:pt x="1280160" y="193802"/>
                </a:lnTo>
                <a:lnTo>
                  <a:pt x="1239977" y="172593"/>
                </a:lnTo>
                <a:lnTo>
                  <a:pt x="1199108" y="152400"/>
                </a:lnTo>
                <a:lnTo>
                  <a:pt x="1157579" y="133477"/>
                </a:lnTo>
                <a:lnTo>
                  <a:pt x="1115428" y="115698"/>
                </a:lnTo>
                <a:lnTo>
                  <a:pt x="1072654" y="99061"/>
                </a:lnTo>
                <a:lnTo>
                  <a:pt x="1029309" y="83693"/>
                </a:lnTo>
                <a:lnTo>
                  <a:pt x="985380" y="69470"/>
                </a:lnTo>
                <a:lnTo>
                  <a:pt x="940904" y="56515"/>
                </a:lnTo>
                <a:lnTo>
                  <a:pt x="895908" y="44958"/>
                </a:lnTo>
                <a:lnTo>
                  <a:pt x="850404" y="34545"/>
                </a:lnTo>
                <a:lnTo>
                  <a:pt x="804405" y="25527"/>
                </a:lnTo>
                <a:lnTo>
                  <a:pt x="757948" y="17780"/>
                </a:lnTo>
                <a:lnTo>
                  <a:pt x="711034" y="11430"/>
                </a:lnTo>
                <a:lnTo>
                  <a:pt x="663714" y="6477"/>
                </a:lnTo>
                <a:lnTo>
                  <a:pt x="615975" y="2921"/>
                </a:lnTo>
                <a:lnTo>
                  <a:pt x="567867" y="762"/>
                </a:lnTo>
                <a:lnTo>
                  <a:pt x="519391" y="0"/>
                </a:lnTo>
                <a:close/>
                <a:moveTo>
                  <a:pt x="2133600" y="2133600"/>
                </a:moveTo>
              </a:path>
            </a:pathLst>
          </a:custGeom>
          <a:solidFill>
            <a:srgbClr val="7DACE1">
              <a:alpha val="6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35" name="Freeform 435"/>
          <p:cNvSpPr/>
          <p:nvPr/>
        </p:nvSpPr>
        <p:spPr>
          <a:xfrm>
            <a:off x="2748026" y="2481327"/>
            <a:ext cx="3599814" cy="0"/>
          </a:xfrm>
          <a:custGeom>
            <a:avLst/>
            <a:gdLst/>
            <a:ahLst/>
            <a:cxnLst/>
            <a:rect l="0" t="0" r="0" b="0"/>
            <a:pathLst>
              <a:path w="3599814">
                <a:moveTo>
                  <a:pt x="0" y="0"/>
                </a:moveTo>
                <a:lnTo>
                  <a:pt x="3599814" y="0"/>
                </a:lnTo>
              </a:path>
            </a:pathLst>
          </a:custGeom>
          <a:noFill/>
          <a:ln w="914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36" name="Freeform 436"/>
          <p:cNvSpPr/>
          <p:nvPr/>
        </p:nvSpPr>
        <p:spPr>
          <a:xfrm>
            <a:off x="2748026" y="3453004"/>
            <a:ext cx="5052694" cy="0"/>
          </a:xfrm>
          <a:custGeom>
            <a:avLst/>
            <a:gdLst/>
            <a:ahLst/>
            <a:cxnLst/>
            <a:rect l="0" t="0" r="0" b="0"/>
            <a:pathLst>
              <a:path w="5052694">
                <a:moveTo>
                  <a:pt x="0" y="0"/>
                </a:moveTo>
                <a:lnTo>
                  <a:pt x="5052694" y="0"/>
                </a:lnTo>
              </a:path>
            </a:pathLst>
          </a:custGeom>
          <a:noFill/>
          <a:ln w="914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37" name="Freeform 437"/>
          <p:cNvSpPr/>
          <p:nvPr/>
        </p:nvSpPr>
        <p:spPr>
          <a:xfrm>
            <a:off x="2748026" y="4426205"/>
            <a:ext cx="5771133" cy="0"/>
          </a:xfrm>
          <a:custGeom>
            <a:avLst/>
            <a:gdLst/>
            <a:ahLst/>
            <a:cxnLst/>
            <a:rect l="0" t="0" r="0" b="0"/>
            <a:pathLst>
              <a:path w="5771133">
                <a:moveTo>
                  <a:pt x="0" y="0"/>
                </a:moveTo>
                <a:lnTo>
                  <a:pt x="5771133" y="0"/>
                </a:lnTo>
              </a:path>
            </a:pathLst>
          </a:custGeom>
          <a:noFill/>
          <a:ln w="914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38" name="Freeform 438"/>
          <p:cNvSpPr/>
          <p:nvPr/>
        </p:nvSpPr>
        <p:spPr>
          <a:xfrm>
            <a:off x="2748026" y="5490845"/>
            <a:ext cx="6400800" cy="0"/>
          </a:xfrm>
          <a:custGeom>
            <a:avLst/>
            <a:gdLst/>
            <a:ahLst/>
            <a:cxnLst/>
            <a:rect l="0" t="0" r="0" b="0"/>
            <a:pathLst>
              <a:path w="6400800">
                <a:moveTo>
                  <a:pt x="0" y="0"/>
                </a:moveTo>
                <a:lnTo>
                  <a:pt x="6400800" y="0"/>
                </a:lnTo>
              </a:path>
            </a:pathLst>
          </a:custGeom>
          <a:noFill/>
          <a:ln w="914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39" name="Rectangle 439"/>
          <p:cNvSpPr/>
          <p:nvPr/>
        </p:nvSpPr>
        <p:spPr>
          <a:xfrm>
            <a:off x="11418951" y="6400508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12</a:t>
            </a:r>
          </a:p>
        </p:txBody>
      </p:sp>
      <p:sp>
        <p:nvSpPr>
          <p:cNvPr id="440" name="Rectangle 440"/>
          <p:cNvSpPr/>
          <p:nvPr/>
        </p:nvSpPr>
        <p:spPr>
          <a:xfrm>
            <a:off x="630555" y="488768"/>
            <a:ext cx="6893969" cy="61258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Consulting</a:t>
            </a:r>
            <a:r>
              <a:rPr lang="fr-FR" sz="3604" b="1" i="0" spc="989" baseline="0" dirty="0">
                <a:solidFill>
                  <a:srgbClr val="FFFFFF"/>
                </a:solidFill>
                <a:latin typeface="Arial"/>
              </a:rPr>
              <a:t>,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vocatio</a:t>
            </a:r>
            <a:r>
              <a:rPr lang="fr-FR" sz="3604" b="1" i="0" spc="993" baseline="0" dirty="0">
                <a:solidFill>
                  <a:srgbClr val="FFFFFF"/>
                </a:solidFill>
                <a:latin typeface="Arial"/>
              </a:rPr>
              <a:t>n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3604" b="1" i="0" spc="1015" baseline="0" dirty="0">
                <a:solidFill>
                  <a:srgbClr val="FFFFFF"/>
                </a:solidFill>
                <a:latin typeface="Arial"/>
              </a:rPr>
              <a:t>r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bridge?</a:t>
            </a:r>
          </a:p>
        </p:txBody>
      </p:sp>
      <p:sp>
        <p:nvSpPr>
          <p:cNvPr id="441" name="Rectangle 441"/>
          <p:cNvSpPr/>
          <p:nvPr/>
        </p:nvSpPr>
        <p:spPr>
          <a:xfrm>
            <a:off x="3629278" y="1666060"/>
            <a:ext cx="2521102" cy="38562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202" b="1" i="0" spc="0" baseline="0" dirty="0">
                <a:solidFill>
                  <a:srgbClr val="FFFFFF"/>
                </a:solidFill>
                <a:latin typeface="Arial"/>
              </a:rPr>
              <a:t>Partne</a:t>
            </a:r>
            <a:r>
              <a:rPr lang="fr-FR" sz="1202" b="1" i="0" spc="668" baseline="0" dirty="0">
                <a:solidFill>
                  <a:srgbClr val="FFFFFF"/>
                </a:solidFill>
                <a:latin typeface="Arial"/>
              </a:rPr>
              <a:t>r</a:t>
            </a:r>
            <a:r>
              <a:rPr lang="fr-FR" sz="1202" b="1" i="0" spc="0" baseline="0" dirty="0">
                <a:solidFill>
                  <a:srgbClr val="FFFFFF"/>
                </a:solidFill>
                <a:latin typeface="Arial"/>
              </a:rPr>
              <a:t>(+1</a:t>
            </a:r>
            <a:r>
              <a:rPr lang="fr-FR" sz="1202" b="1" i="0" spc="339" baseline="0" dirty="0">
                <a:solidFill>
                  <a:srgbClr val="FFFFFF"/>
                </a:solidFill>
                <a:latin typeface="Arial"/>
              </a:rPr>
              <a:t>0</a:t>
            </a:r>
            <a:r>
              <a:rPr lang="fr-FR" sz="1202" b="1" i="0" spc="0" baseline="0" dirty="0">
                <a:solidFill>
                  <a:srgbClr val="FFFFFF"/>
                </a:solidFill>
                <a:latin typeface="Arial"/>
              </a:rPr>
              <a:t>year</a:t>
            </a:r>
            <a:r>
              <a:rPr lang="fr-FR" sz="1202" b="1" i="0" spc="341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202" b="1" i="0" spc="0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202" b="1" i="0" spc="337" baseline="0" dirty="0">
                <a:solidFill>
                  <a:srgbClr val="FFFFFF"/>
                </a:solidFill>
                <a:latin typeface="Arial"/>
              </a:rPr>
              <a:t>f</a:t>
            </a:r>
            <a:r>
              <a:rPr lang="fr-FR" sz="1202" b="1" i="0" spc="0" baseline="0" dirty="0">
                <a:solidFill>
                  <a:srgbClr val="FFFFFF"/>
                </a:solidFill>
                <a:latin typeface="Arial"/>
              </a:rPr>
              <a:t>experience) </a:t>
            </a:r>
          </a:p>
          <a:p>
            <a:pPr marL="177165">
              <a:lnSpc>
                <a:spcPts val="1427"/>
              </a:lnSpc>
            </a:pPr>
            <a:r>
              <a:rPr lang="fr-FR" sz="1200" b="0" i="0" spc="0" baseline="0" dirty="0">
                <a:solidFill>
                  <a:srgbClr val="FFFFFF"/>
                </a:solidFill>
                <a:latin typeface="Arial"/>
              </a:rPr>
              <a:t>Partner (consulting, banking, fund) </a:t>
            </a:r>
          </a:p>
        </p:txBody>
      </p:sp>
      <p:sp>
        <p:nvSpPr>
          <p:cNvPr id="442" name="Rectangle 442"/>
          <p:cNvSpPr/>
          <p:nvPr/>
        </p:nvSpPr>
        <p:spPr>
          <a:xfrm>
            <a:off x="3806444" y="2029003"/>
            <a:ext cx="2075484" cy="38495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200" b="0" i="0" spc="0" baseline="0" dirty="0">
                <a:solidFill>
                  <a:srgbClr val="FFFFFF"/>
                </a:solidFill>
                <a:latin typeface="Arial"/>
              </a:rPr>
              <a:t>Hea</a:t>
            </a:r>
            <a:r>
              <a:rPr lang="fr-FR" sz="1200" b="0" i="0" spc="355" baseline="0" dirty="0">
                <a:solidFill>
                  <a:srgbClr val="FFFFFF"/>
                </a:solidFill>
                <a:latin typeface="Arial"/>
              </a:rPr>
              <a:t>d</a:t>
            </a:r>
            <a:r>
              <a:rPr lang="fr-FR" sz="1200" b="0" i="0" spc="0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200" b="0" i="0" spc="661" baseline="0" dirty="0">
                <a:solidFill>
                  <a:srgbClr val="FFFFFF"/>
                </a:solidFill>
                <a:latin typeface="Arial"/>
              </a:rPr>
              <a:t>f</a:t>
            </a:r>
            <a:r>
              <a:rPr lang="fr-FR" sz="1200" b="0" i="0" spc="0" baseline="0" dirty="0">
                <a:solidFill>
                  <a:srgbClr val="FFFFFF"/>
                </a:solidFill>
                <a:latin typeface="Arial"/>
              </a:rPr>
              <a:t>strategi</a:t>
            </a:r>
            <a:r>
              <a:rPr lang="fr-FR" sz="1200" b="0" i="0" spc="647" baseline="0" dirty="0">
                <a:solidFill>
                  <a:srgbClr val="FFFFFF"/>
                </a:solidFill>
                <a:latin typeface="Arial"/>
              </a:rPr>
              <a:t>c</a:t>
            </a:r>
            <a:r>
              <a:rPr lang="fr-FR" sz="1200" b="0" i="0" spc="0" baseline="0" dirty="0">
                <a:solidFill>
                  <a:srgbClr val="FFFFFF"/>
                </a:solidFill>
                <a:latin typeface="Arial"/>
              </a:rPr>
              <a:t>department </a:t>
            </a:r>
          </a:p>
          <a:p>
            <a:pPr marL="0">
              <a:lnSpc>
                <a:spcPts val="1425"/>
              </a:lnSpc>
            </a:pPr>
            <a:r>
              <a:rPr lang="fr-FR" sz="1202" b="0" i="0" spc="0" baseline="0" dirty="0">
                <a:solidFill>
                  <a:srgbClr val="FFFFFF"/>
                </a:solidFill>
                <a:latin typeface="Arial"/>
              </a:rPr>
              <a:t>CEO</a:t>
            </a:r>
          </a:p>
        </p:txBody>
      </p:sp>
      <p:sp>
        <p:nvSpPr>
          <p:cNvPr id="443" name="Rectangle 443"/>
          <p:cNvSpPr/>
          <p:nvPr/>
        </p:nvSpPr>
        <p:spPr>
          <a:xfrm>
            <a:off x="4397121" y="2562680"/>
            <a:ext cx="3314725" cy="38549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202" b="1" i="0" spc="0" baseline="0" dirty="0">
                <a:solidFill>
                  <a:srgbClr val="FFFFFF"/>
                </a:solidFill>
                <a:latin typeface="Arial"/>
              </a:rPr>
              <a:t>Senior Manage</a:t>
            </a:r>
            <a:r>
              <a:rPr lang="fr-FR" sz="1202" b="1" i="0" spc="346" baseline="0" dirty="0">
                <a:solidFill>
                  <a:srgbClr val="FFFFFF"/>
                </a:solidFill>
                <a:latin typeface="Arial"/>
              </a:rPr>
              <a:t>r</a:t>
            </a:r>
            <a:r>
              <a:rPr lang="fr-FR" sz="1202" b="1" i="0" spc="0" baseline="0" dirty="0">
                <a:solidFill>
                  <a:srgbClr val="FFFFFF"/>
                </a:solidFill>
                <a:latin typeface="Arial"/>
              </a:rPr>
              <a:t>(7-10 years of experience) </a:t>
            </a:r>
          </a:p>
          <a:p>
            <a:pPr marL="177038">
              <a:lnSpc>
                <a:spcPts val="1426"/>
              </a:lnSpc>
            </a:pPr>
            <a:r>
              <a:rPr lang="fr-FR" sz="1200" b="0" i="0" spc="0" baseline="0" dirty="0">
                <a:solidFill>
                  <a:srgbClr val="FFFFFF"/>
                </a:solidFill>
                <a:latin typeface="Arial"/>
              </a:rPr>
              <a:t>Hea</a:t>
            </a:r>
            <a:r>
              <a:rPr lang="fr-FR" sz="1200" b="0" i="0" spc="330" baseline="0" dirty="0">
                <a:solidFill>
                  <a:srgbClr val="FFFFFF"/>
                </a:solidFill>
                <a:latin typeface="Arial"/>
              </a:rPr>
              <a:t>d</a:t>
            </a:r>
            <a:r>
              <a:rPr lang="fr-FR" sz="1200" b="0" i="0" spc="0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200" b="0" i="0" spc="318" baseline="0" dirty="0">
                <a:solidFill>
                  <a:srgbClr val="FFFFFF"/>
                </a:solidFill>
                <a:latin typeface="Arial"/>
              </a:rPr>
              <a:t>f</a:t>
            </a:r>
            <a:r>
              <a:rPr lang="fr-FR" sz="1200" b="0" i="0" spc="0" baseline="0" dirty="0">
                <a:solidFill>
                  <a:srgbClr val="FFFFFF"/>
                </a:solidFill>
                <a:latin typeface="Arial"/>
              </a:rPr>
              <a:t>strategic/retail/purchasin</a:t>
            </a:r>
            <a:r>
              <a:rPr lang="fr-FR" sz="1200" b="0" i="0" spc="257" baseline="0" dirty="0">
                <a:solidFill>
                  <a:srgbClr val="FFFFFF"/>
                </a:solidFill>
                <a:latin typeface="Arial"/>
              </a:rPr>
              <a:t>g</a:t>
            </a:r>
            <a:r>
              <a:rPr lang="fr-FR" sz="1200" b="0" i="0" spc="0" baseline="0" dirty="0">
                <a:solidFill>
                  <a:srgbClr val="FFFFFF"/>
                </a:solidFill>
                <a:latin typeface="Arial"/>
              </a:rPr>
              <a:t>department </a:t>
            </a:r>
          </a:p>
        </p:txBody>
      </p:sp>
      <p:sp>
        <p:nvSpPr>
          <p:cNvPr id="444" name="Rectangle 444"/>
          <p:cNvSpPr/>
          <p:nvPr/>
        </p:nvSpPr>
        <p:spPr>
          <a:xfrm>
            <a:off x="4574159" y="2924884"/>
            <a:ext cx="2067773" cy="39521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202" b="0" i="0" spc="0" baseline="0" dirty="0">
                <a:solidFill>
                  <a:srgbClr val="FFFFFF"/>
                </a:solidFill>
                <a:latin typeface="Arial"/>
              </a:rPr>
              <a:t>Hea</a:t>
            </a:r>
            <a:r>
              <a:rPr lang="fr-FR" sz="1202" b="0" i="0" spc="324" baseline="0" dirty="0">
                <a:solidFill>
                  <a:srgbClr val="FFFFFF"/>
                </a:solidFill>
                <a:latin typeface="Arial"/>
              </a:rPr>
              <a:t>d</a:t>
            </a:r>
            <a:r>
              <a:rPr lang="fr-FR" sz="1202" b="0" i="0" spc="0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202" b="0" i="0" spc="318" baseline="0" dirty="0">
                <a:solidFill>
                  <a:srgbClr val="FFFFFF"/>
                </a:solidFill>
                <a:latin typeface="Arial"/>
              </a:rPr>
              <a:t>f</a:t>
            </a:r>
            <a:r>
              <a:rPr lang="fr-FR" sz="1202" b="0" i="0" spc="0" baseline="0" dirty="0">
                <a:solidFill>
                  <a:srgbClr val="FFFFFF"/>
                </a:solidFill>
                <a:latin typeface="Arial"/>
              </a:rPr>
              <a:t>busines</a:t>
            </a:r>
            <a:r>
              <a:rPr lang="fr-FR" sz="1202" b="0" i="0" spc="279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202" b="0" i="0" spc="0" baseline="0" dirty="0">
                <a:solidFill>
                  <a:srgbClr val="FFFFFF"/>
                </a:solidFill>
                <a:latin typeface="Arial"/>
              </a:rPr>
              <a:t>development</a:t>
            </a:r>
          </a:p>
          <a:p>
            <a:pPr marL="0">
              <a:lnSpc>
                <a:spcPts val="1502"/>
              </a:lnSpc>
            </a:pPr>
            <a:r>
              <a:rPr lang="fr-FR" sz="1202" b="0" i="0" spc="0" baseline="0" dirty="0">
                <a:solidFill>
                  <a:srgbClr val="FFFFFF"/>
                </a:solidFill>
                <a:latin typeface="Arial"/>
              </a:rPr>
              <a:t>Start-up</a:t>
            </a:r>
          </a:p>
        </p:txBody>
      </p:sp>
      <p:sp>
        <p:nvSpPr>
          <p:cNvPr id="445" name="Rectangle 445"/>
          <p:cNvSpPr/>
          <p:nvPr/>
        </p:nvSpPr>
        <p:spPr>
          <a:xfrm>
            <a:off x="5101590" y="3650412"/>
            <a:ext cx="2432583" cy="2039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200" b="1" i="0" spc="0" baseline="0" dirty="0">
                <a:solidFill>
                  <a:srgbClr val="FFFFFF"/>
                </a:solidFill>
                <a:latin typeface="Arial"/>
              </a:rPr>
              <a:t>Manage</a:t>
            </a:r>
            <a:r>
              <a:rPr lang="fr-FR" sz="1200" b="1" i="0" spc="265" baseline="0" dirty="0">
                <a:solidFill>
                  <a:srgbClr val="FFFFFF"/>
                </a:solidFill>
                <a:latin typeface="Arial"/>
              </a:rPr>
              <a:t>r</a:t>
            </a:r>
            <a:r>
              <a:rPr lang="fr-FR" sz="1200" b="1" i="0" spc="0" baseline="0" dirty="0">
                <a:solidFill>
                  <a:srgbClr val="FFFFFF"/>
                </a:solidFill>
                <a:latin typeface="Arial"/>
              </a:rPr>
              <a:t>(5-</a:t>
            </a:r>
            <a:r>
              <a:rPr lang="fr-FR" sz="1200" b="1" i="0" spc="304" baseline="0" dirty="0">
                <a:solidFill>
                  <a:srgbClr val="FFFFFF"/>
                </a:solidFill>
                <a:latin typeface="Arial"/>
              </a:rPr>
              <a:t>7</a:t>
            </a:r>
            <a:r>
              <a:rPr lang="fr-FR" sz="1200" b="1" i="0" spc="0" baseline="0" dirty="0">
                <a:solidFill>
                  <a:srgbClr val="FFFFFF"/>
                </a:solidFill>
                <a:latin typeface="Arial"/>
              </a:rPr>
              <a:t>year</a:t>
            </a:r>
            <a:r>
              <a:rPr lang="fr-FR" sz="1200" b="1" i="0" spc="336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200" b="1" i="0" spc="0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200" b="1" i="0" spc="320" baseline="0" dirty="0">
                <a:solidFill>
                  <a:srgbClr val="FFFFFF"/>
                </a:solidFill>
                <a:latin typeface="Arial"/>
              </a:rPr>
              <a:t>f</a:t>
            </a:r>
            <a:r>
              <a:rPr lang="fr-FR" sz="1200" b="1" i="0" spc="0" baseline="0" dirty="0">
                <a:solidFill>
                  <a:srgbClr val="FFFFFF"/>
                </a:solidFill>
                <a:latin typeface="Arial"/>
              </a:rPr>
              <a:t>experience)</a:t>
            </a:r>
          </a:p>
        </p:txBody>
      </p:sp>
      <p:sp>
        <p:nvSpPr>
          <p:cNvPr id="446" name="Rectangle 446"/>
          <p:cNvSpPr/>
          <p:nvPr/>
        </p:nvSpPr>
        <p:spPr>
          <a:xfrm>
            <a:off x="5279009" y="3840681"/>
            <a:ext cx="3226982" cy="20433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202" b="0" i="0" spc="0" baseline="0" dirty="0">
                <a:solidFill>
                  <a:srgbClr val="FFFFFF"/>
                </a:solidFill>
                <a:latin typeface="Arial"/>
              </a:rPr>
              <a:t>Head of strategic/ retail/ purchasing department </a:t>
            </a:r>
          </a:p>
        </p:txBody>
      </p:sp>
      <p:sp>
        <p:nvSpPr>
          <p:cNvPr id="447" name="Rectangle 447"/>
          <p:cNvSpPr/>
          <p:nvPr/>
        </p:nvSpPr>
        <p:spPr>
          <a:xfrm>
            <a:off x="5279009" y="4021910"/>
            <a:ext cx="544142" cy="20433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202" b="0" i="0" spc="0" baseline="0" dirty="0">
                <a:solidFill>
                  <a:srgbClr val="FFFFFF"/>
                </a:solidFill>
                <a:latin typeface="Arial"/>
              </a:rPr>
              <a:t>Start-up</a:t>
            </a:r>
          </a:p>
        </p:txBody>
      </p:sp>
      <p:sp>
        <p:nvSpPr>
          <p:cNvPr id="448" name="Rectangle 448"/>
          <p:cNvSpPr/>
          <p:nvPr/>
        </p:nvSpPr>
        <p:spPr>
          <a:xfrm>
            <a:off x="5951220" y="4585259"/>
            <a:ext cx="3129712" cy="2039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200" b="1" i="0" spc="0" baseline="0" dirty="0">
                <a:solidFill>
                  <a:srgbClr val="FFFFFF"/>
                </a:solidFill>
                <a:latin typeface="Arial"/>
              </a:rPr>
              <a:t>Senio</a:t>
            </a:r>
            <a:r>
              <a:rPr lang="fr-FR" sz="1200" b="1" i="0" spc="298" baseline="0" dirty="0">
                <a:solidFill>
                  <a:srgbClr val="FFFFFF"/>
                </a:solidFill>
                <a:latin typeface="Arial"/>
              </a:rPr>
              <a:t>r</a:t>
            </a:r>
            <a:r>
              <a:rPr lang="fr-FR" sz="1200" b="1" i="0" spc="0" baseline="0" dirty="0">
                <a:solidFill>
                  <a:srgbClr val="FFFFFF"/>
                </a:solidFill>
                <a:latin typeface="Arial"/>
              </a:rPr>
              <a:t>Consultan</a:t>
            </a:r>
            <a:r>
              <a:rPr lang="fr-FR" sz="1200" b="1" i="0" spc="330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200" b="1" i="0" spc="0" baseline="0" dirty="0">
                <a:solidFill>
                  <a:srgbClr val="FFFFFF"/>
                </a:solidFill>
                <a:latin typeface="Arial"/>
              </a:rPr>
              <a:t>(3-</a:t>
            </a:r>
            <a:r>
              <a:rPr lang="fr-FR" sz="1200" b="1" i="0" spc="312" baseline="0" dirty="0">
                <a:solidFill>
                  <a:srgbClr val="FFFFFF"/>
                </a:solidFill>
                <a:latin typeface="Arial"/>
              </a:rPr>
              <a:t>5</a:t>
            </a:r>
            <a:r>
              <a:rPr lang="fr-FR" sz="1200" b="1" i="0" spc="0" baseline="0" dirty="0">
                <a:solidFill>
                  <a:srgbClr val="FFFFFF"/>
                </a:solidFill>
                <a:latin typeface="Arial"/>
              </a:rPr>
              <a:t>year</a:t>
            </a:r>
            <a:r>
              <a:rPr lang="fr-FR" sz="1200" b="1" i="0" spc="342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200" b="1" i="0" spc="0" baseline="0" dirty="0">
                <a:solidFill>
                  <a:srgbClr val="FFFFFF"/>
                </a:solidFill>
                <a:latin typeface="Arial"/>
              </a:rPr>
              <a:t>of experience)</a:t>
            </a:r>
          </a:p>
        </p:txBody>
      </p:sp>
      <p:sp>
        <p:nvSpPr>
          <p:cNvPr id="449" name="Rectangle 449"/>
          <p:cNvSpPr/>
          <p:nvPr/>
        </p:nvSpPr>
        <p:spPr>
          <a:xfrm>
            <a:off x="6128765" y="4765876"/>
            <a:ext cx="1440736" cy="3855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202" b="0" i="0" spc="0" baseline="0" dirty="0">
                <a:solidFill>
                  <a:srgbClr val="FFFFFF"/>
                </a:solidFill>
                <a:latin typeface="Arial"/>
              </a:rPr>
              <a:t>Strategic department </a:t>
            </a:r>
          </a:p>
          <a:p>
            <a:pPr marL="0">
              <a:lnSpc>
                <a:spcPts val="1427"/>
              </a:lnSpc>
            </a:pPr>
            <a:r>
              <a:rPr lang="fr-FR" sz="1202" b="0" i="0" spc="0" baseline="0" dirty="0">
                <a:solidFill>
                  <a:srgbClr val="FFFFFF"/>
                </a:solidFill>
                <a:latin typeface="Arial"/>
              </a:rPr>
              <a:t>P</a:t>
            </a:r>
            <a:r>
              <a:rPr lang="fr-FR" sz="1202" b="0" i="0" spc="294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202" b="0" i="0" spc="0" baseline="0" dirty="0">
                <a:solidFill>
                  <a:srgbClr val="FFFFFF"/>
                </a:solidFill>
                <a:latin typeface="Arial"/>
              </a:rPr>
              <a:t>funds</a:t>
            </a:r>
          </a:p>
        </p:txBody>
      </p:sp>
      <p:sp>
        <p:nvSpPr>
          <p:cNvPr id="450" name="Rectangle 450"/>
          <p:cNvSpPr/>
          <p:nvPr/>
        </p:nvSpPr>
        <p:spPr>
          <a:xfrm>
            <a:off x="6128765" y="5137986"/>
            <a:ext cx="544016" cy="20433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202" b="0" i="0" spc="0" baseline="0" dirty="0">
                <a:solidFill>
                  <a:srgbClr val="FFFFFF"/>
                </a:solidFill>
                <a:latin typeface="Arial"/>
              </a:rPr>
              <a:t>Start-up</a:t>
            </a:r>
          </a:p>
        </p:txBody>
      </p:sp>
      <p:sp>
        <p:nvSpPr>
          <p:cNvPr id="451" name="Rectangle 451"/>
          <p:cNvSpPr/>
          <p:nvPr/>
        </p:nvSpPr>
        <p:spPr>
          <a:xfrm>
            <a:off x="6847458" y="5748833"/>
            <a:ext cx="3188030" cy="2039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200" b="1" i="0" spc="0" baseline="0" dirty="0">
                <a:solidFill>
                  <a:srgbClr val="FFFFFF"/>
                </a:solidFill>
                <a:latin typeface="Arial"/>
              </a:rPr>
              <a:t>Consultan</a:t>
            </a:r>
            <a:r>
              <a:rPr lang="fr-FR" sz="1200" b="1" i="0" spc="385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200" b="1" i="0" spc="0" baseline="0" dirty="0">
                <a:solidFill>
                  <a:srgbClr val="FFFFFF"/>
                </a:solidFill>
                <a:latin typeface="Arial"/>
              </a:rPr>
              <a:t>Junio</a:t>
            </a:r>
            <a:r>
              <a:rPr lang="fr-FR" sz="1200" b="1" i="0" spc="382" baseline="0" dirty="0">
                <a:solidFill>
                  <a:srgbClr val="FFFFFF"/>
                </a:solidFill>
                <a:latin typeface="Arial"/>
              </a:rPr>
              <a:t>r</a:t>
            </a:r>
            <a:r>
              <a:rPr lang="fr-FR" sz="1200" b="1" i="0" spc="0" baseline="0" dirty="0">
                <a:solidFill>
                  <a:srgbClr val="FFFFFF"/>
                </a:solidFill>
                <a:latin typeface="Arial"/>
              </a:rPr>
              <a:t>(1-</a:t>
            </a:r>
            <a:r>
              <a:rPr lang="fr-FR" sz="1200" b="1" i="0" spc="379" baseline="0" dirty="0">
                <a:solidFill>
                  <a:srgbClr val="FFFFFF"/>
                </a:solidFill>
                <a:latin typeface="Arial"/>
              </a:rPr>
              <a:t>3</a:t>
            </a:r>
            <a:r>
              <a:rPr lang="fr-FR" sz="1200" b="1" i="0" spc="0" baseline="0" dirty="0">
                <a:solidFill>
                  <a:srgbClr val="FFFFFF"/>
                </a:solidFill>
                <a:latin typeface="Arial"/>
              </a:rPr>
              <a:t>year</a:t>
            </a:r>
            <a:r>
              <a:rPr lang="fr-FR" sz="1200" b="1" i="0" spc="387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200" b="1" i="0" spc="0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200" b="1" i="0" spc="379" baseline="0" dirty="0">
                <a:solidFill>
                  <a:srgbClr val="FFFFFF"/>
                </a:solidFill>
                <a:latin typeface="Arial"/>
              </a:rPr>
              <a:t>f</a:t>
            </a:r>
            <a:r>
              <a:rPr lang="fr-FR" sz="1200" b="1" i="0" spc="0" baseline="0" dirty="0">
                <a:solidFill>
                  <a:srgbClr val="FFFFFF"/>
                </a:solidFill>
                <a:latin typeface="Arial"/>
              </a:rPr>
              <a:t>experience) </a:t>
            </a:r>
          </a:p>
        </p:txBody>
      </p:sp>
      <p:sp>
        <p:nvSpPr>
          <p:cNvPr id="452" name="Rectangle 452"/>
          <p:cNvSpPr/>
          <p:nvPr/>
        </p:nvSpPr>
        <p:spPr>
          <a:xfrm>
            <a:off x="7024751" y="5930126"/>
            <a:ext cx="3608247" cy="2039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200" b="0" i="0" spc="0" baseline="0" dirty="0">
                <a:solidFill>
                  <a:srgbClr val="FFFFFF"/>
                </a:solidFill>
                <a:latin typeface="Arial"/>
              </a:rPr>
              <a:t>Business analyst (strategy department/retail/ finance) </a:t>
            </a:r>
          </a:p>
        </p:txBody>
      </p:sp>
      <p:sp>
        <p:nvSpPr>
          <p:cNvPr id="453" name="Rectangle 453"/>
          <p:cNvSpPr/>
          <p:nvPr/>
        </p:nvSpPr>
        <p:spPr>
          <a:xfrm>
            <a:off x="7024751" y="6110743"/>
            <a:ext cx="1567622" cy="20433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202" b="0" i="0" spc="0" baseline="0" dirty="0">
                <a:solidFill>
                  <a:srgbClr val="FFFFFF"/>
                </a:solidFill>
                <a:latin typeface="Arial"/>
              </a:rPr>
              <a:t>Analys</a:t>
            </a:r>
            <a:r>
              <a:rPr lang="fr-FR" sz="1202" b="0" i="0" spc="359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202" b="0" i="0" spc="0" baseline="0" dirty="0">
                <a:solidFill>
                  <a:srgbClr val="FFFFFF"/>
                </a:solidFill>
                <a:latin typeface="Arial"/>
              </a:rPr>
              <a:t>(Privat</a:t>
            </a:r>
            <a:r>
              <a:rPr lang="fr-FR" sz="1202" b="0" i="0" spc="314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202" b="0" i="0" spc="0" baseline="0" dirty="0">
                <a:solidFill>
                  <a:srgbClr val="FFFFFF"/>
                </a:solidFill>
                <a:latin typeface="Arial"/>
              </a:rPr>
              <a:t>Equity)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4" name="Freeform 45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455" name="Picture 268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3790950" cy="6858000"/>
          </a:xfrm>
          <a:prstGeom prst="rect">
            <a:avLst/>
          </a:prstGeom>
          <a:noFill/>
        </p:spPr>
      </p:pic>
      <p:sp>
        <p:nvSpPr>
          <p:cNvPr id="456" name="Freeform 456"/>
          <p:cNvSpPr/>
          <p:nvPr/>
        </p:nvSpPr>
        <p:spPr>
          <a:xfrm>
            <a:off x="666750" y="1076314"/>
            <a:ext cx="1295400" cy="56908"/>
          </a:xfrm>
          <a:custGeom>
            <a:avLst/>
            <a:gdLst/>
            <a:ahLst/>
            <a:cxnLst/>
            <a:rect l="0" t="0" r="0" b="0"/>
            <a:pathLst>
              <a:path w="1295400" h="56908">
                <a:moveTo>
                  <a:pt x="0" y="56908"/>
                </a:moveTo>
                <a:lnTo>
                  <a:pt x="1295400" y="56908"/>
                </a:lnTo>
                <a:lnTo>
                  <a:pt x="1295400" y="0"/>
                </a:lnTo>
                <a:lnTo>
                  <a:pt x="0" y="0"/>
                </a:lnTo>
                <a:lnTo>
                  <a:pt x="0" y="56908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57" name="Freeform 457"/>
          <p:cNvSpPr/>
          <p:nvPr/>
        </p:nvSpPr>
        <p:spPr>
          <a:xfrm>
            <a:off x="671512" y="1081140"/>
            <a:ext cx="1295400" cy="56907"/>
          </a:xfrm>
          <a:custGeom>
            <a:avLst/>
            <a:gdLst/>
            <a:ahLst/>
            <a:cxnLst/>
            <a:rect l="0" t="0" r="0" b="0"/>
            <a:pathLst>
              <a:path w="1295400" h="56907">
                <a:moveTo>
                  <a:pt x="0" y="56907"/>
                </a:moveTo>
                <a:lnTo>
                  <a:pt x="1295400" y="56907"/>
                </a:lnTo>
                <a:lnTo>
                  <a:pt x="1295400" y="0"/>
                </a:lnTo>
                <a:lnTo>
                  <a:pt x="0" y="0"/>
                </a:lnTo>
                <a:lnTo>
                  <a:pt x="0" y="56907"/>
                </a:lnTo>
                <a:close/>
              </a:path>
            </a:pathLst>
          </a:custGeom>
          <a:noFill/>
          <a:ln w="10666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58" name="Rectangle 458"/>
          <p:cNvSpPr/>
          <p:nvPr/>
        </p:nvSpPr>
        <p:spPr>
          <a:xfrm>
            <a:off x="11418951" y="6397333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13</a:t>
            </a:r>
          </a:p>
        </p:txBody>
      </p:sp>
      <p:sp>
        <p:nvSpPr>
          <p:cNvPr id="459" name="Rectangle 459"/>
          <p:cNvSpPr/>
          <p:nvPr/>
        </p:nvSpPr>
        <p:spPr>
          <a:xfrm>
            <a:off x="630555" y="488768"/>
            <a:ext cx="1979220" cy="61258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Contents</a:t>
            </a:r>
          </a:p>
        </p:txBody>
      </p:sp>
      <p:sp>
        <p:nvSpPr>
          <p:cNvPr id="460" name="Rectangle 460"/>
          <p:cNvSpPr/>
          <p:nvPr/>
        </p:nvSpPr>
        <p:spPr>
          <a:xfrm>
            <a:off x="4632578" y="2012567"/>
            <a:ext cx="5510645" cy="47196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Overvie</a:t>
            </a:r>
            <a:r>
              <a:rPr lang="fr-FR" sz="2777" b="0" i="0" spc="794" baseline="0" dirty="0">
                <a:solidFill>
                  <a:srgbClr val="A7A8A7"/>
                </a:solidFill>
                <a:latin typeface="Arial"/>
              </a:rPr>
              <a:t>w</a:t>
            </a:r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o</a:t>
            </a:r>
            <a:r>
              <a:rPr lang="fr-FR" sz="2777" b="0" i="0" spc="742" baseline="0" dirty="0">
                <a:solidFill>
                  <a:srgbClr val="A7A8A7"/>
                </a:solidFill>
                <a:latin typeface="Arial"/>
              </a:rPr>
              <a:t>f</a:t>
            </a:r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th</a:t>
            </a:r>
            <a:r>
              <a:rPr lang="fr-FR" sz="2777" b="0" i="0" spc="786" baseline="0" dirty="0">
                <a:solidFill>
                  <a:srgbClr val="A7A8A7"/>
                </a:solidFill>
                <a:latin typeface="Arial"/>
              </a:rPr>
              <a:t>e</a:t>
            </a:r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consultin</a:t>
            </a:r>
            <a:r>
              <a:rPr lang="fr-FR" sz="2777" b="0" i="0" spc="762" baseline="0" dirty="0">
                <a:solidFill>
                  <a:srgbClr val="A7A8A7"/>
                </a:solidFill>
                <a:latin typeface="Arial"/>
              </a:rPr>
              <a:t>g</a:t>
            </a:r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industry</a:t>
            </a:r>
          </a:p>
        </p:txBody>
      </p:sp>
      <p:sp>
        <p:nvSpPr>
          <p:cNvPr id="461" name="Rectangle 461"/>
          <p:cNvSpPr/>
          <p:nvPr/>
        </p:nvSpPr>
        <p:spPr>
          <a:xfrm>
            <a:off x="4632578" y="3023487"/>
            <a:ext cx="3530873" cy="47196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777" b="1" i="0" spc="0" baseline="0" dirty="0">
                <a:solidFill>
                  <a:srgbClr val="3660A1"/>
                </a:solidFill>
                <a:latin typeface="Arial"/>
              </a:rPr>
              <a:t>Recruitmen</a:t>
            </a:r>
            <a:r>
              <a:rPr lang="fr-FR" sz="2777" b="1" i="0" spc="821" baseline="0" dirty="0">
                <a:solidFill>
                  <a:srgbClr val="3660A1"/>
                </a:solidFill>
                <a:latin typeface="Arial"/>
              </a:rPr>
              <a:t>t</a:t>
            </a:r>
            <a:r>
              <a:rPr lang="fr-FR" sz="2777" b="1" i="0" spc="0" baseline="0" dirty="0">
                <a:solidFill>
                  <a:srgbClr val="3660A1"/>
                </a:solidFill>
                <a:latin typeface="Arial"/>
              </a:rPr>
              <a:t>process</a:t>
            </a:r>
          </a:p>
        </p:txBody>
      </p:sp>
      <p:sp>
        <p:nvSpPr>
          <p:cNvPr id="462" name="Rectangle 462"/>
          <p:cNvSpPr/>
          <p:nvPr/>
        </p:nvSpPr>
        <p:spPr>
          <a:xfrm>
            <a:off x="4632578" y="3843295"/>
            <a:ext cx="4956345" cy="47239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779" b="0" i="0" spc="0" baseline="0" dirty="0">
                <a:solidFill>
                  <a:srgbClr val="A7A8A7"/>
                </a:solidFill>
                <a:latin typeface="Arial"/>
              </a:rPr>
              <a:t>Gettin</a:t>
            </a:r>
            <a:r>
              <a:rPr lang="fr-FR" sz="2779" b="0" i="0" spc="802" baseline="0" dirty="0">
                <a:solidFill>
                  <a:srgbClr val="A7A8A7"/>
                </a:solidFill>
                <a:latin typeface="Arial"/>
              </a:rPr>
              <a:t>g</a:t>
            </a:r>
            <a:r>
              <a:rPr lang="fr-FR" sz="2779" b="0" i="0" spc="0" baseline="0" dirty="0">
                <a:solidFill>
                  <a:srgbClr val="A7A8A7"/>
                </a:solidFill>
                <a:latin typeface="Arial"/>
              </a:rPr>
              <a:t>prepare</a:t>
            </a:r>
            <a:r>
              <a:rPr lang="fr-FR" sz="2779" b="0" i="0" spc="809" baseline="0" dirty="0">
                <a:solidFill>
                  <a:srgbClr val="A7A8A7"/>
                </a:solidFill>
                <a:latin typeface="Arial"/>
              </a:rPr>
              <a:t>d</a:t>
            </a:r>
            <a:r>
              <a:rPr lang="fr-FR" sz="2779" b="0" i="0" spc="0" baseline="0" dirty="0">
                <a:solidFill>
                  <a:srgbClr val="A7A8A7"/>
                </a:solidFill>
                <a:latin typeface="Arial"/>
              </a:rPr>
              <a:t>fo</a:t>
            </a:r>
            <a:r>
              <a:rPr lang="fr-FR" sz="2779" b="0" i="0" spc="768" baseline="0" dirty="0">
                <a:solidFill>
                  <a:srgbClr val="A7A8A7"/>
                </a:solidFill>
                <a:latin typeface="Arial"/>
              </a:rPr>
              <a:t>r</a:t>
            </a:r>
            <a:r>
              <a:rPr lang="fr-FR" sz="2779" b="0" i="0" spc="0" baseline="0" dirty="0">
                <a:solidFill>
                  <a:srgbClr val="A7A8A7"/>
                </a:solidFill>
                <a:latin typeface="Arial"/>
              </a:rPr>
              <a:t>interviews </a:t>
            </a:r>
          </a:p>
        </p:txBody>
      </p:sp>
      <p:sp>
        <p:nvSpPr>
          <p:cNvPr id="463" name="Rectangle 463"/>
          <p:cNvSpPr/>
          <p:nvPr/>
        </p:nvSpPr>
        <p:spPr>
          <a:xfrm>
            <a:off x="4632578" y="4826252"/>
            <a:ext cx="749225" cy="47196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Q&amp;A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" name="Freeform 46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465" name="Picture 465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466" name="Freeform 466"/>
          <p:cNvSpPr/>
          <p:nvPr/>
        </p:nvSpPr>
        <p:spPr>
          <a:xfrm>
            <a:off x="800100" y="2581275"/>
            <a:ext cx="1533017" cy="1523746"/>
          </a:xfrm>
          <a:custGeom>
            <a:avLst/>
            <a:gdLst/>
            <a:ahLst/>
            <a:cxnLst/>
            <a:rect l="0" t="0" r="0" b="0"/>
            <a:pathLst>
              <a:path w="1533017" h="1523746">
                <a:moveTo>
                  <a:pt x="766444" y="0"/>
                </a:moveTo>
                <a:lnTo>
                  <a:pt x="718058" y="1524"/>
                </a:lnTo>
                <a:lnTo>
                  <a:pt x="670305" y="5970"/>
                </a:lnTo>
                <a:lnTo>
                  <a:pt x="623569" y="13209"/>
                </a:lnTo>
                <a:lnTo>
                  <a:pt x="577722" y="23241"/>
                </a:lnTo>
                <a:lnTo>
                  <a:pt x="533019" y="35941"/>
                </a:lnTo>
                <a:lnTo>
                  <a:pt x="489458" y="51309"/>
                </a:lnTo>
                <a:lnTo>
                  <a:pt x="447141" y="69089"/>
                </a:lnTo>
                <a:lnTo>
                  <a:pt x="406171" y="89281"/>
                </a:lnTo>
                <a:lnTo>
                  <a:pt x="366610" y="111760"/>
                </a:lnTo>
                <a:lnTo>
                  <a:pt x="328587" y="136525"/>
                </a:lnTo>
                <a:lnTo>
                  <a:pt x="292163" y="163322"/>
                </a:lnTo>
                <a:lnTo>
                  <a:pt x="257441" y="192279"/>
                </a:lnTo>
                <a:lnTo>
                  <a:pt x="224497" y="223140"/>
                </a:lnTo>
                <a:lnTo>
                  <a:pt x="193446" y="255905"/>
                </a:lnTo>
                <a:lnTo>
                  <a:pt x="164363" y="290449"/>
                </a:lnTo>
                <a:lnTo>
                  <a:pt x="137325" y="326645"/>
                </a:lnTo>
                <a:lnTo>
                  <a:pt x="112445" y="364364"/>
                </a:lnTo>
                <a:lnTo>
                  <a:pt x="89801" y="403734"/>
                </a:lnTo>
                <a:lnTo>
                  <a:pt x="69494" y="444500"/>
                </a:lnTo>
                <a:lnTo>
                  <a:pt x="51587" y="486537"/>
                </a:lnTo>
                <a:lnTo>
                  <a:pt x="36207" y="529845"/>
                </a:lnTo>
                <a:lnTo>
                  <a:pt x="23406" y="574295"/>
                </a:lnTo>
                <a:lnTo>
                  <a:pt x="13296" y="619760"/>
                </a:lnTo>
                <a:lnTo>
                  <a:pt x="5969" y="666242"/>
                </a:lnTo>
                <a:lnTo>
                  <a:pt x="1511" y="713741"/>
                </a:lnTo>
                <a:lnTo>
                  <a:pt x="0" y="761873"/>
                </a:lnTo>
                <a:lnTo>
                  <a:pt x="1511" y="810006"/>
                </a:lnTo>
                <a:lnTo>
                  <a:pt x="5969" y="857504"/>
                </a:lnTo>
                <a:lnTo>
                  <a:pt x="13296" y="903986"/>
                </a:lnTo>
                <a:lnTo>
                  <a:pt x="23406" y="949453"/>
                </a:lnTo>
                <a:lnTo>
                  <a:pt x="36207" y="993903"/>
                </a:lnTo>
                <a:lnTo>
                  <a:pt x="51587" y="1037209"/>
                </a:lnTo>
                <a:lnTo>
                  <a:pt x="69494" y="1079246"/>
                </a:lnTo>
                <a:lnTo>
                  <a:pt x="89801" y="1120014"/>
                </a:lnTo>
                <a:lnTo>
                  <a:pt x="112445" y="1159383"/>
                </a:lnTo>
                <a:lnTo>
                  <a:pt x="137325" y="1197102"/>
                </a:lnTo>
                <a:lnTo>
                  <a:pt x="164363" y="1233298"/>
                </a:lnTo>
                <a:lnTo>
                  <a:pt x="193446" y="1267842"/>
                </a:lnTo>
                <a:lnTo>
                  <a:pt x="224497" y="1300608"/>
                </a:lnTo>
                <a:lnTo>
                  <a:pt x="257441" y="1331468"/>
                </a:lnTo>
                <a:lnTo>
                  <a:pt x="292163" y="1360424"/>
                </a:lnTo>
                <a:lnTo>
                  <a:pt x="328587" y="1387221"/>
                </a:lnTo>
                <a:lnTo>
                  <a:pt x="366610" y="1411986"/>
                </a:lnTo>
                <a:lnTo>
                  <a:pt x="406171" y="1434465"/>
                </a:lnTo>
                <a:lnTo>
                  <a:pt x="447141" y="1454658"/>
                </a:lnTo>
                <a:lnTo>
                  <a:pt x="489458" y="1472439"/>
                </a:lnTo>
                <a:lnTo>
                  <a:pt x="533019" y="1487805"/>
                </a:lnTo>
                <a:lnTo>
                  <a:pt x="577722" y="1500505"/>
                </a:lnTo>
                <a:lnTo>
                  <a:pt x="623569" y="1510539"/>
                </a:lnTo>
                <a:lnTo>
                  <a:pt x="670305" y="1517777"/>
                </a:lnTo>
                <a:lnTo>
                  <a:pt x="718058" y="1522223"/>
                </a:lnTo>
                <a:lnTo>
                  <a:pt x="766444" y="1523746"/>
                </a:lnTo>
                <a:lnTo>
                  <a:pt x="814958" y="1522223"/>
                </a:lnTo>
                <a:lnTo>
                  <a:pt x="862710" y="1517777"/>
                </a:lnTo>
                <a:lnTo>
                  <a:pt x="909447" y="1510539"/>
                </a:lnTo>
                <a:lnTo>
                  <a:pt x="955294" y="1500505"/>
                </a:lnTo>
                <a:lnTo>
                  <a:pt x="999998" y="1487805"/>
                </a:lnTo>
                <a:lnTo>
                  <a:pt x="1043558" y="1472439"/>
                </a:lnTo>
                <a:lnTo>
                  <a:pt x="1085850" y="1454658"/>
                </a:lnTo>
                <a:lnTo>
                  <a:pt x="1126870" y="1434465"/>
                </a:lnTo>
                <a:lnTo>
                  <a:pt x="1166367" y="1411986"/>
                </a:lnTo>
                <a:lnTo>
                  <a:pt x="1204467" y="1387221"/>
                </a:lnTo>
                <a:lnTo>
                  <a:pt x="1240917" y="1360424"/>
                </a:lnTo>
                <a:lnTo>
                  <a:pt x="1275588" y="1331468"/>
                </a:lnTo>
                <a:lnTo>
                  <a:pt x="1308480" y="1300608"/>
                </a:lnTo>
                <a:lnTo>
                  <a:pt x="1339595" y="1267842"/>
                </a:lnTo>
                <a:lnTo>
                  <a:pt x="1368679" y="1233298"/>
                </a:lnTo>
                <a:lnTo>
                  <a:pt x="1395729" y="1197102"/>
                </a:lnTo>
                <a:lnTo>
                  <a:pt x="1420622" y="1159383"/>
                </a:lnTo>
                <a:lnTo>
                  <a:pt x="1443227" y="1120014"/>
                </a:lnTo>
                <a:lnTo>
                  <a:pt x="1463548" y="1079246"/>
                </a:lnTo>
                <a:lnTo>
                  <a:pt x="1481454" y="1037209"/>
                </a:lnTo>
                <a:lnTo>
                  <a:pt x="1496822" y="993903"/>
                </a:lnTo>
                <a:lnTo>
                  <a:pt x="1509648" y="949453"/>
                </a:lnTo>
                <a:lnTo>
                  <a:pt x="1519682" y="903986"/>
                </a:lnTo>
                <a:lnTo>
                  <a:pt x="1527048" y="857504"/>
                </a:lnTo>
                <a:lnTo>
                  <a:pt x="1531492" y="810006"/>
                </a:lnTo>
                <a:lnTo>
                  <a:pt x="1533017" y="761873"/>
                </a:lnTo>
                <a:lnTo>
                  <a:pt x="1531492" y="713741"/>
                </a:lnTo>
                <a:lnTo>
                  <a:pt x="1527048" y="666242"/>
                </a:lnTo>
                <a:lnTo>
                  <a:pt x="1519682" y="619760"/>
                </a:lnTo>
                <a:lnTo>
                  <a:pt x="1509648" y="574295"/>
                </a:lnTo>
                <a:lnTo>
                  <a:pt x="1496822" y="529845"/>
                </a:lnTo>
                <a:lnTo>
                  <a:pt x="1481454" y="486537"/>
                </a:lnTo>
                <a:lnTo>
                  <a:pt x="1463548" y="444500"/>
                </a:lnTo>
                <a:lnTo>
                  <a:pt x="1443227" y="403734"/>
                </a:lnTo>
                <a:lnTo>
                  <a:pt x="1420622" y="364364"/>
                </a:lnTo>
                <a:lnTo>
                  <a:pt x="1395729" y="326645"/>
                </a:lnTo>
                <a:lnTo>
                  <a:pt x="1368679" y="290449"/>
                </a:lnTo>
                <a:lnTo>
                  <a:pt x="1339595" y="255905"/>
                </a:lnTo>
                <a:lnTo>
                  <a:pt x="1308480" y="223140"/>
                </a:lnTo>
                <a:lnTo>
                  <a:pt x="1275588" y="192279"/>
                </a:lnTo>
                <a:lnTo>
                  <a:pt x="1240917" y="163322"/>
                </a:lnTo>
                <a:lnTo>
                  <a:pt x="1204467" y="136525"/>
                </a:lnTo>
                <a:lnTo>
                  <a:pt x="1166367" y="111760"/>
                </a:lnTo>
                <a:lnTo>
                  <a:pt x="1126870" y="89281"/>
                </a:lnTo>
                <a:lnTo>
                  <a:pt x="1085850" y="69089"/>
                </a:lnTo>
                <a:lnTo>
                  <a:pt x="1043558" y="51309"/>
                </a:lnTo>
                <a:lnTo>
                  <a:pt x="999998" y="35941"/>
                </a:lnTo>
                <a:lnTo>
                  <a:pt x="955294" y="23241"/>
                </a:lnTo>
                <a:lnTo>
                  <a:pt x="909447" y="13209"/>
                </a:lnTo>
                <a:lnTo>
                  <a:pt x="862710" y="5970"/>
                </a:lnTo>
                <a:lnTo>
                  <a:pt x="814958" y="1524"/>
                </a:lnTo>
                <a:lnTo>
                  <a:pt x="766444" y="0"/>
                </a:lnTo>
                <a:close/>
                <a:moveTo>
                  <a:pt x="3476625" y="4276725"/>
                </a:moveTo>
              </a:path>
            </a:pathLst>
          </a:custGeom>
          <a:solidFill>
            <a:srgbClr val="7DACE1">
              <a:alpha val="6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467" name="Picture 467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9125" y="2581275"/>
            <a:ext cx="1524000" cy="1524000"/>
          </a:xfrm>
          <a:prstGeom prst="rect">
            <a:avLst/>
          </a:prstGeom>
          <a:noFill/>
        </p:spPr>
      </p:pic>
      <p:sp>
        <p:nvSpPr>
          <p:cNvPr id="468" name="Freeform 468"/>
          <p:cNvSpPr/>
          <p:nvPr/>
        </p:nvSpPr>
        <p:spPr>
          <a:xfrm>
            <a:off x="800100" y="4810125"/>
            <a:ext cx="1533017" cy="1533017"/>
          </a:xfrm>
          <a:custGeom>
            <a:avLst/>
            <a:gdLst/>
            <a:ahLst/>
            <a:cxnLst/>
            <a:rect l="0" t="0" r="0" b="0"/>
            <a:pathLst>
              <a:path w="1533017" h="1533017">
                <a:moveTo>
                  <a:pt x="766444" y="0"/>
                </a:moveTo>
                <a:lnTo>
                  <a:pt x="718058" y="1524"/>
                </a:lnTo>
                <a:lnTo>
                  <a:pt x="670305" y="5970"/>
                </a:lnTo>
                <a:lnTo>
                  <a:pt x="623569" y="13336"/>
                </a:lnTo>
                <a:lnTo>
                  <a:pt x="577722" y="23368"/>
                </a:lnTo>
                <a:lnTo>
                  <a:pt x="533019" y="36196"/>
                </a:lnTo>
                <a:lnTo>
                  <a:pt x="489458" y="51562"/>
                </a:lnTo>
                <a:lnTo>
                  <a:pt x="447141" y="69470"/>
                </a:lnTo>
                <a:lnTo>
                  <a:pt x="406171" y="89790"/>
                </a:lnTo>
                <a:lnTo>
                  <a:pt x="366610" y="112396"/>
                </a:lnTo>
                <a:lnTo>
                  <a:pt x="328587" y="137287"/>
                </a:lnTo>
                <a:lnTo>
                  <a:pt x="292163" y="164339"/>
                </a:lnTo>
                <a:lnTo>
                  <a:pt x="257441" y="193421"/>
                </a:lnTo>
                <a:lnTo>
                  <a:pt x="224497" y="224536"/>
                </a:lnTo>
                <a:lnTo>
                  <a:pt x="193446" y="257430"/>
                </a:lnTo>
                <a:lnTo>
                  <a:pt x="164363" y="292100"/>
                </a:lnTo>
                <a:lnTo>
                  <a:pt x="137325" y="328549"/>
                </a:lnTo>
                <a:lnTo>
                  <a:pt x="112445" y="366649"/>
                </a:lnTo>
                <a:lnTo>
                  <a:pt x="89801" y="406146"/>
                </a:lnTo>
                <a:lnTo>
                  <a:pt x="69494" y="447167"/>
                </a:lnTo>
                <a:lnTo>
                  <a:pt x="51587" y="489459"/>
                </a:lnTo>
                <a:lnTo>
                  <a:pt x="36207" y="533020"/>
                </a:lnTo>
                <a:lnTo>
                  <a:pt x="23406" y="577723"/>
                </a:lnTo>
                <a:lnTo>
                  <a:pt x="13296" y="623570"/>
                </a:lnTo>
                <a:lnTo>
                  <a:pt x="5969" y="670306"/>
                </a:lnTo>
                <a:lnTo>
                  <a:pt x="1511" y="718059"/>
                </a:lnTo>
                <a:lnTo>
                  <a:pt x="0" y="766445"/>
                </a:lnTo>
                <a:lnTo>
                  <a:pt x="1511" y="814985"/>
                </a:lnTo>
                <a:lnTo>
                  <a:pt x="5969" y="862661"/>
                </a:lnTo>
                <a:lnTo>
                  <a:pt x="13296" y="909435"/>
                </a:lnTo>
                <a:lnTo>
                  <a:pt x="23406" y="955244"/>
                </a:lnTo>
                <a:lnTo>
                  <a:pt x="36207" y="999973"/>
                </a:lnTo>
                <a:lnTo>
                  <a:pt x="51587" y="1043547"/>
                </a:lnTo>
                <a:lnTo>
                  <a:pt x="69494" y="1085863"/>
                </a:lnTo>
                <a:lnTo>
                  <a:pt x="89801" y="1126846"/>
                </a:lnTo>
                <a:lnTo>
                  <a:pt x="112445" y="1166394"/>
                </a:lnTo>
                <a:lnTo>
                  <a:pt x="137325" y="1204430"/>
                </a:lnTo>
                <a:lnTo>
                  <a:pt x="164363" y="1240854"/>
                </a:lnTo>
                <a:lnTo>
                  <a:pt x="193446" y="1275576"/>
                </a:lnTo>
                <a:lnTo>
                  <a:pt x="224497" y="1308507"/>
                </a:lnTo>
                <a:lnTo>
                  <a:pt x="257441" y="1339571"/>
                </a:lnTo>
                <a:lnTo>
                  <a:pt x="292163" y="1368654"/>
                </a:lnTo>
                <a:lnTo>
                  <a:pt x="328587" y="1395680"/>
                </a:lnTo>
                <a:lnTo>
                  <a:pt x="366610" y="1420559"/>
                </a:lnTo>
                <a:lnTo>
                  <a:pt x="406171" y="1443203"/>
                </a:lnTo>
                <a:lnTo>
                  <a:pt x="447141" y="1463523"/>
                </a:lnTo>
                <a:lnTo>
                  <a:pt x="489458" y="1481417"/>
                </a:lnTo>
                <a:lnTo>
                  <a:pt x="533019" y="1496810"/>
                </a:lnTo>
                <a:lnTo>
                  <a:pt x="577722" y="1509611"/>
                </a:lnTo>
                <a:lnTo>
                  <a:pt x="623569" y="1519708"/>
                </a:lnTo>
                <a:lnTo>
                  <a:pt x="670305" y="1527049"/>
                </a:lnTo>
                <a:lnTo>
                  <a:pt x="718058" y="1531506"/>
                </a:lnTo>
                <a:lnTo>
                  <a:pt x="766444" y="1533017"/>
                </a:lnTo>
                <a:lnTo>
                  <a:pt x="814958" y="1531506"/>
                </a:lnTo>
                <a:lnTo>
                  <a:pt x="862710" y="1527049"/>
                </a:lnTo>
                <a:lnTo>
                  <a:pt x="909447" y="1519708"/>
                </a:lnTo>
                <a:lnTo>
                  <a:pt x="955294" y="1509611"/>
                </a:lnTo>
                <a:lnTo>
                  <a:pt x="999998" y="1496810"/>
                </a:lnTo>
                <a:lnTo>
                  <a:pt x="1043558" y="1481417"/>
                </a:lnTo>
                <a:lnTo>
                  <a:pt x="1085850" y="1463523"/>
                </a:lnTo>
                <a:lnTo>
                  <a:pt x="1126870" y="1443203"/>
                </a:lnTo>
                <a:lnTo>
                  <a:pt x="1166367" y="1420559"/>
                </a:lnTo>
                <a:lnTo>
                  <a:pt x="1204467" y="1395680"/>
                </a:lnTo>
                <a:lnTo>
                  <a:pt x="1240917" y="1368654"/>
                </a:lnTo>
                <a:lnTo>
                  <a:pt x="1275588" y="1339571"/>
                </a:lnTo>
                <a:lnTo>
                  <a:pt x="1308480" y="1308507"/>
                </a:lnTo>
                <a:lnTo>
                  <a:pt x="1339595" y="1275576"/>
                </a:lnTo>
                <a:lnTo>
                  <a:pt x="1368679" y="1240854"/>
                </a:lnTo>
                <a:lnTo>
                  <a:pt x="1395729" y="1204430"/>
                </a:lnTo>
                <a:lnTo>
                  <a:pt x="1420622" y="1166394"/>
                </a:lnTo>
                <a:lnTo>
                  <a:pt x="1443227" y="1126846"/>
                </a:lnTo>
                <a:lnTo>
                  <a:pt x="1463548" y="1085863"/>
                </a:lnTo>
                <a:lnTo>
                  <a:pt x="1481454" y="1043547"/>
                </a:lnTo>
                <a:lnTo>
                  <a:pt x="1496822" y="999973"/>
                </a:lnTo>
                <a:lnTo>
                  <a:pt x="1509648" y="955244"/>
                </a:lnTo>
                <a:lnTo>
                  <a:pt x="1519682" y="909435"/>
                </a:lnTo>
                <a:lnTo>
                  <a:pt x="1527048" y="862661"/>
                </a:lnTo>
                <a:lnTo>
                  <a:pt x="1531492" y="814985"/>
                </a:lnTo>
                <a:lnTo>
                  <a:pt x="1533017" y="766445"/>
                </a:lnTo>
                <a:lnTo>
                  <a:pt x="1531492" y="718059"/>
                </a:lnTo>
                <a:lnTo>
                  <a:pt x="1527048" y="670306"/>
                </a:lnTo>
                <a:lnTo>
                  <a:pt x="1519682" y="623570"/>
                </a:lnTo>
                <a:lnTo>
                  <a:pt x="1509648" y="577723"/>
                </a:lnTo>
                <a:lnTo>
                  <a:pt x="1496822" y="533020"/>
                </a:lnTo>
                <a:lnTo>
                  <a:pt x="1481454" y="489459"/>
                </a:lnTo>
                <a:lnTo>
                  <a:pt x="1463548" y="447167"/>
                </a:lnTo>
                <a:lnTo>
                  <a:pt x="1443227" y="406146"/>
                </a:lnTo>
                <a:lnTo>
                  <a:pt x="1420622" y="366649"/>
                </a:lnTo>
                <a:lnTo>
                  <a:pt x="1395729" y="328549"/>
                </a:lnTo>
                <a:lnTo>
                  <a:pt x="1368679" y="292100"/>
                </a:lnTo>
                <a:lnTo>
                  <a:pt x="1339595" y="257430"/>
                </a:lnTo>
                <a:lnTo>
                  <a:pt x="1308480" y="224536"/>
                </a:lnTo>
                <a:lnTo>
                  <a:pt x="1275588" y="193421"/>
                </a:lnTo>
                <a:lnTo>
                  <a:pt x="1240917" y="164339"/>
                </a:lnTo>
                <a:lnTo>
                  <a:pt x="1204467" y="137287"/>
                </a:lnTo>
                <a:lnTo>
                  <a:pt x="1166367" y="112396"/>
                </a:lnTo>
                <a:lnTo>
                  <a:pt x="1126870" y="89790"/>
                </a:lnTo>
                <a:lnTo>
                  <a:pt x="1085850" y="69470"/>
                </a:lnTo>
                <a:lnTo>
                  <a:pt x="1043558" y="51562"/>
                </a:lnTo>
                <a:lnTo>
                  <a:pt x="999998" y="36196"/>
                </a:lnTo>
                <a:lnTo>
                  <a:pt x="955294" y="23368"/>
                </a:lnTo>
                <a:lnTo>
                  <a:pt x="909447" y="13336"/>
                </a:lnTo>
                <a:lnTo>
                  <a:pt x="862710" y="5970"/>
                </a:lnTo>
                <a:lnTo>
                  <a:pt x="814958" y="1524"/>
                </a:lnTo>
                <a:lnTo>
                  <a:pt x="766444" y="0"/>
                </a:lnTo>
                <a:close/>
                <a:moveTo>
                  <a:pt x="1247775" y="2047875"/>
                </a:moveTo>
              </a:path>
            </a:pathLst>
          </a:custGeom>
          <a:solidFill>
            <a:srgbClr val="7DACE1">
              <a:alpha val="6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469" name="Picture 469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9125" y="4810125"/>
            <a:ext cx="1524000" cy="1533525"/>
          </a:xfrm>
          <a:prstGeom prst="rect">
            <a:avLst/>
          </a:prstGeom>
          <a:noFill/>
        </p:spPr>
      </p:pic>
      <p:sp>
        <p:nvSpPr>
          <p:cNvPr id="470" name="Freeform 470"/>
          <p:cNvSpPr/>
          <p:nvPr/>
        </p:nvSpPr>
        <p:spPr>
          <a:xfrm>
            <a:off x="666750" y="1685914"/>
            <a:ext cx="1542669" cy="56908"/>
          </a:xfrm>
          <a:custGeom>
            <a:avLst/>
            <a:gdLst/>
            <a:ahLst/>
            <a:cxnLst/>
            <a:rect l="0" t="0" r="0" b="0"/>
            <a:pathLst>
              <a:path w="1542669" h="56908">
                <a:moveTo>
                  <a:pt x="0" y="56908"/>
                </a:moveTo>
                <a:lnTo>
                  <a:pt x="1542669" y="56908"/>
                </a:lnTo>
                <a:lnTo>
                  <a:pt x="1542669" y="0"/>
                </a:lnTo>
                <a:lnTo>
                  <a:pt x="0" y="0"/>
                </a:lnTo>
                <a:lnTo>
                  <a:pt x="0" y="56908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71" name="Freeform 471"/>
          <p:cNvSpPr/>
          <p:nvPr/>
        </p:nvSpPr>
        <p:spPr>
          <a:xfrm>
            <a:off x="671512" y="1690740"/>
            <a:ext cx="1542669" cy="56907"/>
          </a:xfrm>
          <a:custGeom>
            <a:avLst/>
            <a:gdLst/>
            <a:ahLst/>
            <a:cxnLst/>
            <a:rect l="0" t="0" r="0" b="0"/>
            <a:pathLst>
              <a:path w="1542669" h="56907">
                <a:moveTo>
                  <a:pt x="0" y="56907"/>
                </a:moveTo>
                <a:lnTo>
                  <a:pt x="1542669" y="56907"/>
                </a:lnTo>
                <a:lnTo>
                  <a:pt x="1542669" y="0"/>
                </a:lnTo>
                <a:lnTo>
                  <a:pt x="0" y="0"/>
                </a:lnTo>
                <a:lnTo>
                  <a:pt x="0" y="56907"/>
                </a:lnTo>
                <a:close/>
              </a:path>
            </a:pathLst>
          </a:custGeom>
          <a:noFill/>
          <a:ln w="10667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72" name="Freeform 472"/>
          <p:cNvSpPr/>
          <p:nvPr/>
        </p:nvSpPr>
        <p:spPr>
          <a:xfrm>
            <a:off x="804862" y="4472052"/>
            <a:ext cx="7762431" cy="0"/>
          </a:xfrm>
          <a:custGeom>
            <a:avLst/>
            <a:gdLst/>
            <a:ahLst/>
            <a:cxnLst/>
            <a:rect l="0" t="0" r="0" b="0"/>
            <a:pathLst>
              <a:path w="7762431">
                <a:moveTo>
                  <a:pt x="0" y="0"/>
                </a:moveTo>
                <a:lnTo>
                  <a:pt x="7762431" y="0"/>
                </a:lnTo>
              </a:path>
            </a:pathLst>
          </a:custGeom>
          <a:noFill/>
          <a:ln w="3175" cap="flat" cmpd="sng">
            <a:solidFill>
              <a:srgbClr val="BCBCBC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73" name="Freeform 473"/>
          <p:cNvSpPr/>
          <p:nvPr/>
        </p:nvSpPr>
        <p:spPr>
          <a:xfrm>
            <a:off x="8791575" y="4921250"/>
            <a:ext cx="958850" cy="76327"/>
          </a:xfrm>
          <a:custGeom>
            <a:avLst/>
            <a:gdLst/>
            <a:ahLst/>
            <a:cxnLst/>
            <a:rect l="0" t="0" r="0" b="0"/>
            <a:pathLst>
              <a:path w="958850" h="76327">
                <a:moveTo>
                  <a:pt x="958850" y="34671"/>
                </a:moveTo>
                <a:lnTo>
                  <a:pt x="956056" y="31877"/>
                </a:lnTo>
                <a:lnTo>
                  <a:pt x="74930" y="31877"/>
                </a:lnTo>
                <a:lnTo>
                  <a:pt x="73152" y="23368"/>
                </a:lnTo>
                <a:lnTo>
                  <a:pt x="65023" y="11177"/>
                </a:lnTo>
                <a:lnTo>
                  <a:pt x="52958" y="3049"/>
                </a:lnTo>
                <a:lnTo>
                  <a:pt x="38100" y="0"/>
                </a:lnTo>
                <a:lnTo>
                  <a:pt x="23241" y="3049"/>
                </a:lnTo>
                <a:lnTo>
                  <a:pt x="11176" y="11177"/>
                </a:lnTo>
                <a:lnTo>
                  <a:pt x="2920" y="23368"/>
                </a:lnTo>
                <a:lnTo>
                  <a:pt x="0" y="38227"/>
                </a:lnTo>
                <a:lnTo>
                  <a:pt x="2920" y="53086"/>
                </a:lnTo>
                <a:lnTo>
                  <a:pt x="11176" y="65152"/>
                </a:lnTo>
                <a:lnTo>
                  <a:pt x="23241" y="73280"/>
                </a:lnTo>
                <a:lnTo>
                  <a:pt x="38100" y="76327"/>
                </a:lnTo>
                <a:lnTo>
                  <a:pt x="52958" y="73280"/>
                </a:lnTo>
                <a:lnTo>
                  <a:pt x="65023" y="65152"/>
                </a:lnTo>
                <a:lnTo>
                  <a:pt x="73152" y="53086"/>
                </a:lnTo>
                <a:lnTo>
                  <a:pt x="74930" y="44577"/>
                </a:lnTo>
                <a:lnTo>
                  <a:pt x="956056" y="44577"/>
                </a:lnTo>
                <a:lnTo>
                  <a:pt x="958850" y="41783"/>
                </a:lnTo>
                <a:lnTo>
                  <a:pt x="958850" y="34671"/>
                </a:lnTo>
                <a:close/>
                <a:moveTo>
                  <a:pt x="-6889496" y="1936750"/>
                </a:moveTo>
              </a:path>
            </a:pathLst>
          </a:custGeom>
          <a:solidFill>
            <a:srgbClr val="BCBCBC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74" name="Freeform 474"/>
          <p:cNvSpPr/>
          <p:nvPr/>
        </p:nvSpPr>
        <p:spPr>
          <a:xfrm>
            <a:off x="8791575" y="5340859"/>
            <a:ext cx="1017523" cy="76200"/>
          </a:xfrm>
          <a:custGeom>
            <a:avLst/>
            <a:gdLst/>
            <a:ahLst/>
            <a:cxnLst/>
            <a:rect l="0" t="0" r="0" b="0"/>
            <a:pathLst>
              <a:path w="1017523" h="76200">
                <a:moveTo>
                  <a:pt x="1017523" y="34544"/>
                </a:moveTo>
                <a:lnTo>
                  <a:pt x="1014730" y="31750"/>
                </a:lnTo>
                <a:lnTo>
                  <a:pt x="74930" y="31750"/>
                </a:lnTo>
                <a:lnTo>
                  <a:pt x="73152" y="23241"/>
                </a:lnTo>
                <a:lnTo>
                  <a:pt x="65023" y="11175"/>
                </a:lnTo>
                <a:lnTo>
                  <a:pt x="52958" y="2920"/>
                </a:lnTo>
                <a:lnTo>
                  <a:pt x="38100" y="0"/>
                </a:lnTo>
                <a:lnTo>
                  <a:pt x="23241" y="2920"/>
                </a:lnTo>
                <a:lnTo>
                  <a:pt x="11176" y="11175"/>
                </a:lnTo>
                <a:lnTo>
                  <a:pt x="2920" y="23241"/>
                </a:lnTo>
                <a:lnTo>
                  <a:pt x="0" y="38100"/>
                </a:lnTo>
                <a:lnTo>
                  <a:pt x="2920" y="52958"/>
                </a:lnTo>
                <a:lnTo>
                  <a:pt x="11176" y="65150"/>
                </a:lnTo>
                <a:lnTo>
                  <a:pt x="23241" y="73278"/>
                </a:lnTo>
                <a:lnTo>
                  <a:pt x="38100" y="76200"/>
                </a:lnTo>
                <a:lnTo>
                  <a:pt x="52958" y="73278"/>
                </a:lnTo>
                <a:lnTo>
                  <a:pt x="65023" y="65150"/>
                </a:lnTo>
                <a:lnTo>
                  <a:pt x="73152" y="52958"/>
                </a:lnTo>
                <a:lnTo>
                  <a:pt x="74930" y="44450"/>
                </a:lnTo>
                <a:lnTo>
                  <a:pt x="1014730" y="44450"/>
                </a:lnTo>
                <a:lnTo>
                  <a:pt x="1017523" y="41655"/>
                </a:lnTo>
                <a:lnTo>
                  <a:pt x="1017523" y="34544"/>
                </a:lnTo>
                <a:close/>
                <a:moveTo>
                  <a:pt x="-7308978" y="1517141"/>
                </a:moveTo>
              </a:path>
            </a:pathLst>
          </a:custGeom>
          <a:solidFill>
            <a:srgbClr val="BCBCBC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75" name="Freeform 475"/>
          <p:cNvSpPr/>
          <p:nvPr/>
        </p:nvSpPr>
        <p:spPr>
          <a:xfrm>
            <a:off x="8791575" y="5131817"/>
            <a:ext cx="1017523" cy="76326"/>
          </a:xfrm>
          <a:custGeom>
            <a:avLst/>
            <a:gdLst/>
            <a:ahLst/>
            <a:cxnLst/>
            <a:rect l="0" t="0" r="0" b="0"/>
            <a:pathLst>
              <a:path w="1017523" h="76326">
                <a:moveTo>
                  <a:pt x="1017523" y="34544"/>
                </a:moveTo>
                <a:lnTo>
                  <a:pt x="1014730" y="31750"/>
                </a:lnTo>
                <a:lnTo>
                  <a:pt x="74930" y="31750"/>
                </a:lnTo>
                <a:lnTo>
                  <a:pt x="73152" y="23241"/>
                </a:lnTo>
                <a:lnTo>
                  <a:pt x="65023" y="11176"/>
                </a:lnTo>
                <a:lnTo>
                  <a:pt x="52958" y="3048"/>
                </a:lnTo>
                <a:lnTo>
                  <a:pt x="38100" y="0"/>
                </a:lnTo>
                <a:lnTo>
                  <a:pt x="23241" y="3048"/>
                </a:lnTo>
                <a:lnTo>
                  <a:pt x="11176" y="11176"/>
                </a:lnTo>
                <a:lnTo>
                  <a:pt x="2920" y="23241"/>
                </a:lnTo>
                <a:lnTo>
                  <a:pt x="0" y="38100"/>
                </a:lnTo>
                <a:lnTo>
                  <a:pt x="2920" y="52958"/>
                </a:lnTo>
                <a:lnTo>
                  <a:pt x="11176" y="65151"/>
                </a:lnTo>
                <a:lnTo>
                  <a:pt x="23241" y="73279"/>
                </a:lnTo>
                <a:lnTo>
                  <a:pt x="38100" y="76326"/>
                </a:lnTo>
                <a:lnTo>
                  <a:pt x="52958" y="73279"/>
                </a:lnTo>
                <a:lnTo>
                  <a:pt x="65023" y="65151"/>
                </a:lnTo>
                <a:lnTo>
                  <a:pt x="73152" y="52958"/>
                </a:lnTo>
                <a:lnTo>
                  <a:pt x="74930" y="44450"/>
                </a:lnTo>
                <a:lnTo>
                  <a:pt x="1014730" y="44450"/>
                </a:lnTo>
                <a:lnTo>
                  <a:pt x="1017523" y="41656"/>
                </a:lnTo>
                <a:lnTo>
                  <a:pt x="1017523" y="34544"/>
                </a:lnTo>
                <a:close/>
                <a:moveTo>
                  <a:pt x="-7099936" y="1726183"/>
                </a:moveTo>
              </a:path>
            </a:pathLst>
          </a:custGeom>
          <a:solidFill>
            <a:srgbClr val="BCBCBC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76" name="Freeform 476"/>
          <p:cNvSpPr/>
          <p:nvPr/>
        </p:nvSpPr>
        <p:spPr>
          <a:xfrm>
            <a:off x="8791575" y="5551298"/>
            <a:ext cx="1042796" cy="76327"/>
          </a:xfrm>
          <a:custGeom>
            <a:avLst/>
            <a:gdLst/>
            <a:ahLst/>
            <a:cxnLst/>
            <a:rect l="0" t="0" r="0" b="0"/>
            <a:pathLst>
              <a:path w="1042796" h="76327">
                <a:moveTo>
                  <a:pt x="1042796" y="34670"/>
                </a:moveTo>
                <a:lnTo>
                  <a:pt x="1039876" y="31877"/>
                </a:lnTo>
                <a:lnTo>
                  <a:pt x="74930" y="31877"/>
                </a:lnTo>
                <a:lnTo>
                  <a:pt x="73152" y="23367"/>
                </a:lnTo>
                <a:lnTo>
                  <a:pt x="65023" y="11175"/>
                </a:lnTo>
                <a:lnTo>
                  <a:pt x="52958" y="3047"/>
                </a:lnTo>
                <a:lnTo>
                  <a:pt x="38100" y="0"/>
                </a:lnTo>
                <a:lnTo>
                  <a:pt x="23241" y="3047"/>
                </a:lnTo>
                <a:lnTo>
                  <a:pt x="11176" y="11175"/>
                </a:lnTo>
                <a:lnTo>
                  <a:pt x="2920" y="23367"/>
                </a:lnTo>
                <a:lnTo>
                  <a:pt x="0" y="38188"/>
                </a:lnTo>
                <a:lnTo>
                  <a:pt x="2920" y="53035"/>
                </a:lnTo>
                <a:lnTo>
                  <a:pt x="11176" y="65163"/>
                </a:lnTo>
                <a:lnTo>
                  <a:pt x="23241" y="73329"/>
                </a:lnTo>
                <a:lnTo>
                  <a:pt x="38100" y="76327"/>
                </a:lnTo>
                <a:lnTo>
                  <a:pt x="52958" y="73329"/>
                </a:lnTo>
                <a:lnTo>
                  <a:pt x="65023" y="65163"/>
                </a:lnTo>
                <a:lnTo>
                  <a:pt x="73152" y="53035"/>
                </a:lnTo>
                <a:lnTo>
                  <a:pt x="74930" y="44538"/>
                </a:lnTo>
                <a:lnTo>
                  <a:pt x="1039876" y="44538"/>
                </a:lnTo>
                <a:lnTo>
                  <a:pt x="1042796" y="41694"/>
                </a:lnTo>
                <a:lnTo>
                  <a:pt x="1042796" y="34670"/>
                </a:lnTo>
                <a:close/>
                <a:moveTo>
                  <a:pt x="-7519543" y="1306702"/>
                </a:moveTo>
              </a:path>
            </a:pathLst>
          </a:custGeom>
          <a:solidFill>
            <a:srgbClr val="BCBCBC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77" name="Freeform 477"/>
          <p:cNvSpPr/>
          <p:nvPr/>
        </p:nvSpPr>
        <p:spPr>
          <a:xfrm>
            <a:off x="8791575" y="5761864"/>
            <a:ext cx="1176908" cy="76276"/>
          </a:xfrm>
          <a:custGeom>
            <a:avLst/>
            <a:gdLst/>
            <a:ahLst/>
            <a:cxnLst/>
            <a:rect l="0" t="0" r="0" b="0"/>
            <a:pathLst>
              <a:path w="1176908" h="76276">
                <a:moveTo>
                  <a:pt x="1176908" y="34632"/>
                </a:moveTo>
                <a:lnTo>
                  <a:pt x="1174115" y="31788"/>
                </a:lnTo>
                <a:lnTo>
                  <a:pt x="74930" y="31788"/>
                </a:lnTo>
                <a:lnTo>
                  <a:pt x="73152" y="23304"/>
                </a:lnTo>
                <a:lnTo>
                  <a:pt x="65023" y="11175"/>
                </a:lnTo>
                <a:lnTo>
                  <a:pt x="52958" y="3009"/>
                </a:lnTo>
                <a:lnTo>
                  <a:pt x="38100" y="0"/>
                </a:lnTo>
                <a:lnTo>
                  <a:pt x="23241" y="3009"/>
                </a:lnTo>
                <a:lnTo>
                  <a:pt x="11176" y="11175"/>
                </a:lnTo>
                <a:lnTo>
                  <a:pt x="2920" y="23304"/>
                </a:lnTo>
                <a:lnTo>
                  <a:pt x="0" y="38138"/>
                </a:lnTo>
                <a:lnTo>
                  <a:pt x="2920" y="52997"/>
                </a:lnTo>
                <a:lnTo>
                  <a:pt x="11176" y="65125"/>
                </a:lnTo>
                <a:lnTo>
                  <a:pt x="23241" y="73291"/>
                </a:lnTo>
                <a:lnTo>
                  <a:pt x="38100" y="76276"/>
                </a:lnTo>
                <a:lnTo>
                  <a:pt x="52958" y="73291"/>
                </a:lnTo>
                <a:lnTo>
                  <a:pt x="65023" y="65125"/>
                </a:lnTo>
                <a:lnTo>
                  <a:pt x="73152" y="52997"/>
                </a:lnTo>
                <a:lnTo>
                  <a:pt x="74930" y="44500"/>
                </a:lnTo>
                <a:lnTo>
                  <a:pt x="1174115" y="44500"/>
                </a:lnTo>
                <a:lnTo>
                  <a:pt x="1176908" y="41656"/>
                </a:lnTo>
                <a:lnTo>
                  <a:pt x="1176908" y="34632"/>
                </a:lnTo>
                <a:close/>
                <a:moveTo>
                  <a:pt x="-7730071" y="1096136"/>
                </a:moveTo>
              </a:path>
            </a:pathLst>
          </a:custGeom>
          <a:solidFill>
            <a:srgbClr val="BCBCBC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78" name="Freeform 478"/>
          <p:cNvSpPr/>
          <p:nvPr/>
        </p:nvSpPr>
        <p:spPr>
          <a:xfrm>
            <a:off x="8791575" y="5970867"/>
            <a:ext cx="1218945" cy="76277"/>
          </a:xfrm>
          <a:custGeom>
            <a:avLst/>
            <a:gdLst/>
            <a:ahLst/>
            <a:cxnLst/>
            <a:rect l="0" t="0" r="0" b="0"/>
            <a:pathLst>
              <a:path w="1218945" h="76277">
                <a:moveTo>
                  <a:pt x="1218945" y="34633"/>
                </a:moveTo>
                <a:lnTo>
                  <a:pt x="1216025" y="31789"/>
                </a:lnTo>
                <a:lnTo>
                  <a:pt x="74930" y="31789"/>
                </a:lnTo>
                <a:lnTo>
                  <a:pt x="73152" y="23305"/>
                </a:lnTo>
                <a:lnTo>
                  <a:pt x="65023" y="11176"/>
                </a:lnTo>
                <a:lnTo>
                  <a:pt x="52958" y="2998"/>
                </a:lnTo>
                <a:lnTo>
                  <a:pt x="38100" y="0"/>
                </a:lnTo>
                <a:lnTo>
                  <a:pt x="23241" y="2998"/>
                </a:lnTo>
                <a:lnTo>
                  <a:pt x="11176" y="11176"/>
                </a:lnTo>
                <a:lnTo>
                  <a:pt x="2920" y="23305"/>
                </a:lnTo>
                <a:lnTo>
                  <a:pt x="0" y="38139"/>
                </a:lnTo>
                <a:lnTo>
                  <a:pt x="2920" y="52985"/>
                </a:lnTo>
                <a:lnTo>
                  <a:pt x="11176" y="65113"/>
                </a:lnTo>
                <a:lnTo>
                  <a:pt x="23241" y="73292"/>
                </a:lnTo>
                <a:lnTo>
                  <a:pt x="38100" y="76277"/>
                </a:lnTo>
                <a:lnTo>
                  <a:pt x="52958" y="73292"/>
                </a:lnTo>
                <a:lnTo>
                  <a:pt x="65023" y="65113"/>
                </a:lnTo>
                <a:lnTo>
                  <a:pt x="73152" y="52985"/>
                </a:lnTo>
                <a:lnTo>
                  <a:pt x="74930" y="44501"/>
                </a:lnTo>
                <a:lnTo>
                  <a:pt x="1216025" y="44501"/>
                </a:lnTo>
                <a:lnTo>
                  <a:pt x="1218945" y="41644"/>
                </a:lnTo>
                <a:lnTo>
                  <a:pt x="1218945" y="34633"/>
                </a:lnTo>
                <a:close/>
                <a:moveTo>
                  <a:pt x="-7939075" y="887133"/>
                </a:moveTo>
              </a:path>
            </a:pathLst>
          </a:custGeom>
          <a:solidFill>
            <a:srgbClr val="BCBCBC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79" name="Freeform 479"/>
          <p:cNvSpPr/>
          <p:nvPr/>
        </p:nvSpPr>
        <p:spPr>
          <a:xfrm>
            <a:off x="8791575" y="6181395"/>
            <a:ext cx="1294383" cy="76276"/>
          </a:xfrm>
          <a:custGeom>
            <a:avLst/>
            <a:gdLst/>
            <a:ahLst/>
            <a:cxnLst/>
            <a:rect l="0" t="0" r="0" b="0"/>
            <a:pathLst>
              <a:path w="1294383" h="76276">
                <a:moveTo>
                  <a:pt x="1294383" y="34633"/>
                </a:moveTo>
                <a:lnTo>
                  <a:pt x="1291590" y="31776"/>
                </a:lnTo>
                <a:lnTo>
                  <a:pt x="74930" y="31776"/>
                </a:lnTo>
                <a:lnTo>
                  <a:pt x="73152" y="23305"/>
                </a:lnTo>
                <a:lnTo>
                  <a:pt x="65023" y="11176"/>
                </a:lnTo>
                <a:lnTo>
                  <a:pt x="52958" y="2997"/>
                </a:lnTo>
                <a:lnTo>
                  <a:pt x="38100" y="0"/>
                </a:lnTo>
                <a:lnTo>
                  <a:pt x="23241" y="2997"/>
                </a:lnTo>
                <a:lnTo>
                  <a:pt x="11176" y="11176"/>
                </a:lnTo>
                <a:lnTo>
                  <a:pt x="2920" y="23305"/>
                </a:lnTo>
                <a:lnTo>
                  <a:pt x="0" y="38138"/>
                </a:lnTo>
                <a:lnTo>
                  <a:pt x="2920" y="52985"/>
                </a:lnTo>
                <a:lnTo>
                  <a:pt x="11176" y="65113"/>
                </a:lnTo>
                <a:lnTo>
                  <a:pt x="23241" y="73292"/>
                </a:lnTo>
                <a:lnTo>
                  <a:pt x="38100" y="76276"/>
                </a:lnTo>
                <a:lnTo>
                  <a:pt x="52958" y="73292"/>
                </a:lnTo>
                <a:lnTo>
                  <a:pt x="65023" y="65113"/>
                </a:lnTo>
                <a:lnTo>
                  <a:pt x="73152" y="52985"/>
                </a:lnTo>
                <a:lnTo>
                  <a:pt x="74930" y="44488"/>
                </a:lnTo>
                <a:lnTo>
                  <a:pt x="1291590" y="44488"/>
                </a:lnTo>
                <a:lnTo>
                  <a:pt x="1294383" y="41644"/>
                </a:lnTo>
                <a:lnTo>
                  <a:pt x="1294383" y="34633"/>
                </a:lnTo>
                <a:close/>
                <a:moveTo>
                  <a:pt x="-8149603" y="676605"/>
                </a:moveTo>
              </a:path>
            </a:pathLst>
          </a:custGeom>
          <a:solidFill>
            <a:srgbClr val="BCBCBC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81" name="Freeform 481"/>
          <p:cNvSpPr/>
          <p:nvPr/>
        </p:nvSpPr>
        <p:spPr>
          <a:xfrm>
            <a:off x="8791575" y="3124200"/>
            <a:ext cx="1780920" cy="76328"/>
          </a:xfrm>
          <a:custGeom>
            <a:avLst/>
            <a:gdLst/>
            <a:ahLst/>
            <a:cxnLst/>
            <a:rect l="0" t="0" r="0" b="0"/>
            <a:pathLst>
              <a:path w="1780920" h="76328">
                <a:moveTo>
                  <a:pt x="1780920" y="34545"/>
                </a:moveTo>
                <a:lnTo>
                  <a:pt x="1778127" y="31750"/>
                </a:lnTo>
                <a:lnTo>
                  <a:pt x="74930" y="31750"/>
                </a:lnTo>
                <a:lnTo>
                  <a:pt x="73152" y="23241"/>
                </a:lnTo>
                <a:lnTo>
                  <a:pt x="65023" y="11177"/>
                </a:lnTo>
                <a:lnTo>
                  <a:pt x="52958" y="3048"/>
                </a:lnTo>
                <a:lnTo>
                  <a:pt x="38100" y="0"/>
                </a:lnTo>
                <a:lnTo>
                  <a:pt x="23241" y="3048"/>
                </a:lnTo>
                <a:lnTo>
                  <a:pt x="11176" y="11177"/>
                </a:lnTo>
                <a:lnTo>
                  <a:pt x="2920" y="23241"/>
                </a:lnTo>
                <a:lnTo>
                  <a:pt x="0" y="38100"/>
                </a:lnTo>
                <a:lnTo>
                  <a:pt x="2920" y="52960"/>
                </a:lnTo>
                <a:lnTo>
                  <a:pt x="11176" y="65152"/>
                </a:lnTo>
                <a:lnTo>
                  <a:pt x="23241" y="73279"/>
                </a:lnTo>
                <a:lnTo>
                  <a:pt x="38100" y="76328"/>
                </a:lnTo>
                <a:lnTo>
                  <a:pt x="52958" y="73279"/>
                </a:lnTo>
                <a:lnTo>
                  <a:pt x="65023" y="65152"/>
                </a:lnTo>
                <a:lnTo>
                  <a:pt x="73152" y="52960"/>
                </a:lnTo>
                <a:lnTo>
                  <a:pt x="74930" y="44450"/>
                </a:lnTo>
                <a:lnTo>
                  <a:pt x="1778127" y="44450"/>
                </a:lnTo>
                <a:lnTo>
                  <a:pt x="1780920" y="41656"/>
                </a:lnTo>
                <a:lnTo>
                  <a:pt x="1780920" y="34545"/>
                </a:lnTo>
                <a:close/>
                <a:moveTo>
                  <a:pt x="-5092320" y="3733800"/>
                </a:moveTo>
              </a:path>
            </a:pathLst>
          </a:custGeom>
          <a:solidFill>
            <a:srgbClr val="BCBCBC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82" name="Freeform 482"/>
          <p:cNvSpPr/>
          <p:nvPr/>
        </p:nvSpPr>
        <p:spPr>
          <a:xfrm>
            <a:off x="9829800" y="4648200"/>
            <a:ext cx="2361818" cy="2209737"/>
          </a:xfrm>
          <a:custGeom>
            <a:avLst/>
            <a:gdLst/>
            <a:ahLst/>
            <a:cxnLst/>
            <a:rect l="0" t="0" r="0" b="0"/>
            <a:pathLst>
              <a:path w="2361818" h="2209737">
                <a:moveTo>
                  <a:pt x="2361818" y="29083"/>
                </a:moveTo>
                <a:lnTo>
                  <a:pt x="2354960" y="9145"/>
                </a:lnTo>
                <a:lnTo>
                  <a:pt x="2334132" y="0"/>
                </a:lnTo>
                <a:lnTo>
                  <a:pt x="934339" y="0"/>
                </a:lnTo>
                <a:lnTo>
                  <a:pt x="884935" y="255"/>
                </a:lnTo>
                <a:lnTo>
                  <a:pt x="835406" y="636"/>
                </a:lnTo>
                <a:lnTo>
                  <a:pt x="785876" y="1398"/>
                </a:lnTo>
                <a:lnTo>
                  <a:pt x="736218" y="2668"/>
                </a:lnTo>
                <a:lnTo>
                  <a:pt x="686689" y="4318"/>
                </a:lnTo>
                <a:lnTo>
                  <a:pt x="637031" y="6477"/>
                </a:lnTo>
                <a:lnTo>
                  <a:pt x="587375" y="9399"/>
                </a:lnTo>
                <a:lnTo>
                  <a:pt x="537718" y="12955"/>
                </a:lnTo>
                <a:lnTo>
                  <a:pt x="483743" y="17399"/>
                </a:lnTo>
                <a:lnTo>
                  <a:pt x="430021" y="22861"/>
                </a:lnTo>
                <a:lnTo>
                  <a:pt x="376428" y="29465"/>
                </a:lnTo>
                <a:lnTo>
                  <a:pt x="322706" y="36958"/>
                </a:lnTo>
                <a:lnTo>
                  <a:pt x="234822" y="50420"/>
                </a:lnTo>
                <a:lnTo>
                  <a:pt x="167131" y="62484"/>
                </a:lnTo>
                <a:lnTo>
                  <a:pt x="109346" y="74549"/>
                </a:lnTo>
                <a:lnTo>
                  <a:pt x="63627" y="89536"/>
                </a:lnTo>
                <a:lnTo>
                  <a:pt x="14858" y="135255"/>
                </a:lnTo>
                <a:lnTo>
                  <a:pt x="2158" y="177039"/>
                </a:lnTo>
                <a:lnTo>
                  <a:pt x="0" y="223140"/>
                </a:lnTo>
                <a:lnTo>
                  <a:pt x="3556" y="270002"/>
                </a:lnTo>
                <a:lnTo>
                  <a:pt x="7746" y="313564"/>
                </a:lnTo>
                <a:lnTo>
                  <a:pt x="10159" y="360427"/>
                </a:lnTo>
                <a:lnTo>
                  <a:pt x="15113" y="454152"/>
                </a:lnTo>
                <a:lnTo>
                  <a:pt x="17906" y="501015"/>
                </a:lnTo>
                <a:lnTo>
                  <a:pt x="20701" y="547878"/>
                </a:lnTo>
                <a:lnTo>
                  <a:pt x="23748" y="594742"/>
                </a:lnTo>
                <a:lnTo>
                  <a:pt x="38354" y="869442"/>
                </a:lnTo>
                <a:lnTo>
                  <a:pt x="38989" y="909701"/>
                </a:lnTo>
                <a:lnTo>
                  <a:pt x="40385" y="955929"/>
                </a:lnTo>
                <a:lnTo>
                  <a:pt x="47625" y="1001472"/>
                </a:lnTo>
                <a:lnTo>
                  <a:pt x="65658" y="1039572"/>
                </a:lnTo>
                <a:lnTo>
                  <a:pt x="99568" y="1063448"/>
                </a:lnTo>
                <a:lnTo>
                  <a:pt x="160908" y="1069506"/>
                </a:lnTo>
                <a:lnTo>
                  <a:pt x="183006" y="1067537"/>
                </a:lnTo>
                <a:lnTo>
                  <a:pt x="180085" y="1087667"/>
                </a:lnTo>
                <a:lnTo>
                  <a:pt x="193040" y="1135800"/>
                </a:lnTo>
                <a:lnTo>
                  <a:pt x="205613" y="1184085"/>
                </a:lnTo>
                <a:lnTo>
                  <a:pt x="217805" y="1232510"/>
                </a:lnTo>
                <a:lnTo>
                  <a:pt x="229616" y="1281075"/>
                </a:lnTo>
                <a:lnTo>
                  <a:pt x="241045" y="1329767"/>
                </a:lnTo>
                <a:lnTo>
                  <a:pt x="251968" y="1378573"/>
                </a:lnTo>
                <a:lnTo>
                  <a:pt x="262635" y="1427519"/>
                </a:lnTo>
                <a:lnTo>
                  <a:pt x="272795" y="1476553"/>
                </a:lnTo>
                <a:lnTo>
                  <a:pt x="282575" y="1525690"/>
                </a:lnTo>
                <a:lnTo>
                  <a:pt x="291972" y="1574927"/>
                </a:lnTo>
                <a:lnTo>
                  <a:pt x="310006" y="1674178"/>
                </a:lnTo>
                <a:lnTo>
                  <a:pt x="318896" y="1724330"/>
                </a:lnTo>
                <a:lnTo>
                  <a:pt x="327406" y="1774660"/>
                </a:lnTo>
                <a:lnTo>
                  <a:pt x="335153" y="1825194"/>
                </a:lnTo>
                <a:lnTo>
                  <a:pt x="342010" y="1875854"/>
                </a:lnTo>
                <a:lnTo>
                  <a:pt x="347726" y="1926654"/>
                </a:lnTo>
                <a:lnTo>
                  <a:pt x="352297" y="1977568"/>
                </a:lnTo>
                <a:lnTo>
                  <a:pt x="355472" y="2028571"/>
                </a:lnTo>
                <a:lnTo>
                  <a:pt x="356869" y="2079625"/>
                </a:lnTo>
                <a:lnTo>
                  <a:pt x="356489" y="2130735"/>
                </a:lnTo>
                <a:lnTo>
                  <a:pt x="354076" y="2181857"/>
                </a:lnTo>
                <a:lnTo>
                  <a:pt x="362204" y="2202775"/>
                </a:lnTo>
                <a:lnTo>
                  <a:pt x="381889" y="2209737"/>
                </a:lnTo>
                <a:lnTo>
                  <a:pt x="402081" y="2202775"/>
                </a:lnTo>
                <a:lnTo>
                  <a:pt x="412115" y="2181857"/>
                </a:lnTo>
                <a:lnTo>
                  <a:pt x="414528" y="2130697"/>
                </a:lnTo>
                <a:lnTo>
                  <a:pt x="414908" y="2079473"/>
                </a:lnTo>
                <a:lnTo>
                  <a:pt x="413511" y="2028241"/>
                </a:lnTo>
                <a:lnTo>
                  <a:pt x="410336" y="1977010"/>
                </a:lnTo>
                <a:lnTo>
                  <a:pt x="405765" y="1925816"/>
                </a:lnTo>
                <a:lnTo>
                  <a:pt x="399922" y="1874686"/>
                </a:lnTo>
                <a:lnTo>
                  <a:pt x="393065" y="1823657"/>
                </a:lnTo>
                <a:lnTo>
                  <a:pt x="385318" y="1772730"/>
                </a:lnTo>
                <a:lnTo>
                  <a:pt x="376935" y="1721968"/>
                </a:lnTo>
                <a:lnTo>
                  <a:pt x="368045" y="1671397"/>
                </a:lnTo>
                <a:lnTo>
                  <a:pt x="358902" y="1621028"/>
                </a:lnTo>
                <a:lnTo>
                  <a:pt x="349504" y="1570419"/>
                </a:lnTo>
                <a:lnTo>
                  <a:pt x="339852" y="1519975"/>
                </a:lnTo>
                <a:lnTo>
                  <a:pt x="329818" y="1469657"/>
                </a:lnTo>
                <a:lnTo>
                  <a:pt x="319405" y="1419492"/>
                </a:lnTo>
                <a:lnTo>
                  <a:pt x="308609" y="1369454"/>
                </a:lnTo>
                <a:lnTo>
                  <a:pt x="297560" y="1319531"/>
                </a:lnTo>
                <a:lnTo>
                  <a:pt x="286131" y="1269721"/>
                </a:lnTo>
                <a:lnTo>
                  <a:pt x="274193" y="1220026"/>
                </a:lnTo>
                <a:lnTo>
                  <a:pt x="262001" y="1170445"/>
                </a:lnTo>
                <a:lnTo>
                  <a:pt x="249428" y="1120941"/>
                </a:lnTo>
                <a:lnTo>
                  <a:pt x="236473" y="1071525"/>
                </a:lnTo>
                <a:lnTo>
                  <a:pt x="229743" y="1063245"/>
                </a:lnTo>
                <a:lnTo>
                  <a:pt x="365379" y="1058596"/>
                </a:lnTo>
                <a:lnTo>
                  <a:pt x="420496" y="1056044"/>
                </a:lnTo>
                <a:lnTo>
                  <a:pt x="475488" y="1054024"/>
                </a:lnTo>
                <a:lnTo>
                  <a:pt x="585723" y="1050697"/>
                </a:lnTo>
                <a:lnTo>
                  <a:pt x="640842" y="1048881"/>
                </a:lnTo>
                <a:lnTo>
                  <a:pt x="691768" y="1047598"/>
                </a:lnTo>
                <a:lnTo>
                  <a:pt x="793750" y="1045274"/>
                </a:lnTo>
                <a:lnTo>
                  <a:pt x="895477" y="1043280"/>
                </a:lnTo>
                <a:lnTo>
                  <a:pt x="997204" y="1041604"/>
                </a:lnTo>
                <a:lnTo>
                  <a:pt x="1098677" y="1040258"/>
                </a:lnTo>
                <a:lnTo>
                  <a:pt x="1199895" y="1039229"/>
                </a:lnTo>
                <a:lnTo>
                  <a:pt x="1500123" y="1036816"/>
                </a:lnTo>
                <a:lnTo>
                  <a:pt x="1649856" y="1036117"/>
                </a:lnTo>
                <a:lnTo>
                  <a:pt x="1749297" y="1035965"/>
                </a:lnTo>
                <a:lnTo>
                  <a:pt x="1799335" y="1036105"/>
                </a:lnTo>
                <a:lnTo>
                  <a:pt x="1849373" y="1036638"/>
                </a:lnTo>
                <a:lnTo>
                  <a:pt x="1899411" y="1037705"/>
                </a:lnTo>
                <a:lnTo>
                  <a:pt x="1949322" y="1039445"/>
                </a:lnTo>
                <a:lnTo>
                  <a:pt x="1999106" y="1042010"/>
                </a:lnTo>
                <a:lnTo>
                  <a:pt x="2048764" y="1045541"/>
                </a:lnTo>
                <a:lnTo>
                  <a:pt x="2098167" y="1050202"/>
                </a:lnTo>
                <a:lnTo>
                  <a:pt x="2147443" y="1056107"/>
                </a:lnTo>
                <a:lnTo>
                  <a:pt x="2196592" y="1063422"/>
                </a:lnTo>
                <a:lnTo>
                  <a:pt x="2245359" y="1072287"/>
                </a:lnTo>
                <a:lnTo>
                  <a:pt x="2293746" y="1082866"/>
                </a:lnTo>
                <a:lnTo>
                  <a:pt x="2317115" y="1079488"/>
                </a:lnTo>
                <a:lnTo>
                  <a:pt x="2329688" y="1062025"/>
                </a:lnTo>
                <a:lnTo>
                  <a:pt x="2328291" y="1041235"/>
                </a:lnTo>
                <a:lnTo>
                  <a:pt x="2309876" y="1027888"/>
                </a:lnTo>
                <a:lnTo>
                  <a:pt x="2258821" y="1016534"/>
                </a:lnTo>
                <a:lnTo>
                  <a:pt x="2207386" y="1007022"/>
                </a:lnTo>
                <a:lnTo>
                  <a:pt x="2155697" y="999173"/>
                </a:lnTo>
                <a:lnTo>
                  <a:pt x="2103755" y="992861"/>
                </a:lnTo>
                <a:lnTo>
                  <a:pt x="2051684" y="987908"/>
                </a:lnTo>
                <a:lnTo>
                  <a:pt x="1999360" y="984162"/>
                </a:lnTo>
                <a:lnTo>
                  <a:pt x="1946909" y="981444"/>
                </a:lnTo>
                <a:lnTo>
                  <a:pt x="1894458" y="979615"/>
                </a:lnTo>
                <a:lnTo>
                  <a:pt x="1841754" y="978510"/>
                </a:lnTo>
                <a:lnTo>
                  <a:pt x="1789048" y="977951"/>
                </a:lnTo>
                <a:lnTo>
                  <a:pt x="1736343" y="977812"/>
                </a:lnTo>
                <a:lnTo>
                  <a:pt x="1687576" y="977837"/>
                </a:lnTo>
                <a:lnTo>
                  <a:pt x="1589913" y="978078"/>
                </a:lnTo>
                <a:lnTo>
                  <a:pt x="1442973" y="978802"/>
                </a:lnTo>
                <a:lnTo>
                  <a:pt x="1148333" y="981025"/>
                </a:lnTo>
                <a:lnTo>
                  <a:pt x="1095629" y="981952"/>
                </a:lnTo>
                <a:lnTo>
                  <a:pt x="832231" y="986156"/>
                </a:lnTo>
                <a:lnTo>
                  <a:pt x="726947" y="988175"/>
                </a:lnTo>
                <a:lnTo>
                  <a:pt x="674243" y="989381"/>
                </a:lnTo>
                <a:lnTo>
                  <a:pt x="621538" y="990740"/>
                </a:lnTo>
                <a:lnTo>
                  <a:pt x="352425" y="1000392"/>
                </a:lnTo>
                <a:lnTo>
                  <a:pt x="223519" y="1005244"/>
                </a:lnTo>
                <a:lnTo>
                  <a:pt x="195960" y="1008266"/>
                </a:lnTo>
                <a:lnTo>
                  <a:pt x="160528" y="1011124"/>
                </a:lnTo>
                <a:lnTo>
                  <a:pt x="105918" y="993953"/>
                </a:lnTo>
                <a:lnTo>
                  <a:pt x="100076" y="943737"/>
                </a:lnTo>
                <a:lnTo>
                  <a:pt x="99568" y="927736"/>
                </a:lnTo>
                <a:lnTo>
                  <a:pt x="99314" y="911734"/>
                </a:lnTo>
                <a:lnTo>
                  <a:pt x="98552" y="895350"/>
                </a:lnTo>
                <a:lnTo>
                  <a:pt x="97535" y="879095"/>
                </a:lnTo>
                <a:lnTo>
                  <a:pt x="96266" y="863092"/>
                </a:lnTo>
                <a:lnTo>
                  <a:pt x="94868" y="831342"/>
                </a:lnTo>
                <a:lnTo>
                  <a:pt x="91313" y="767081"/>
                </a:lnTo>
                <a:lnTo>
                  <a:pt x="89916" y="735331"/>
                </a:lnTo>
                <a:lnTo>
                  <a:pt x="86741" y="683006"/>
                </a:lnTo>
                <a:lnTo>
                  <a:pt x="76834" y="525908"/>
                </a:lnTo>
                <a:lnTo>
                  <a:pt x="70739" y="421386"/>
                </a:lnTo>
                <a:lnTo>
                  <a:pt x="64389" y="317500"/>
                </a:lnTo>
                <a:lnTo>
                  <a:pt x="61594" y="265558"/>
                </a:lnTo>
                <a:lnTo>
                  <a:pt x="59308" y="213361"/>
                </a:lnTo>
                <a:lnTo>
                  <a:pt x="59181" y="198121"/>
                </a:lnTo>
                <a:lnTo>
                  <a:pt x="60070" y="182246"/>
                </a:lnTo>
                <a:lnTo>
                  <a:pt x="81026" y="145289"/>
                </a:lnTo>
                <a:lnTo>
                  <a:pt x="146557" y="125858"/>
                </a:lnTo>
                <a:lnTo>
                  <a:pt x="205613" y="114808"/>
                </a:lnTo>
                <a:lnTo>
                  <a:pt x="284098" y="101855"/>
                </a:lnTo>
                <a:lnTo>
                  <a:pt x="333375" y="94615"/>
                </a:lnTo>
                <a:lnTo>
                  <a:pt x="382778" y="88265"/>
                </a:lnTo>
                <a:lnTo>
                  <a:pt x="432054" y="82550"/>
                </a:lnTo>
                <a:lnTo>
                  <a:pt x="481456" y="77724"/>
                </a:lnTo>
                <a:lnTo>
                  <a:pt x="530732" y="73533"/>
                </a:lnTo>
                <a:lnTo>
                  <a:pt x="580135" y="69850"/>
                </a:lnTo>
                <a:lnTo>
                  <a:pt x="629539" y="66930"/>
                </a:lnTo>
                <a:lnTo>
                  <a:pt x="679068" y="64390"/>
                </a:lnTo>
                <a:lnTo>
                  <a:pt x="728471" y="62484"/>
                </a:lnTo>
                <a:lnTo>
                  <a:pt x="778002" y="60833"/>
                </a:lnTo>
                <a:lnTo>
                  <a:pt x="827531" y="59690"/>
                </a:lnTo>
                <a:lnTo>
                  <a:pt x="877061" y="58802"/>
                </a:lnTo>
                <a:lnTo>
                  <a:pt x="926592" y="58293"/>
                </a:lnTo>
                <a:lnTo>
                  <a:pt x="976121" y="57912"/>
                </a:lnTo>
                <a:lnTo>
                  <a:pt x="1025779" y="57786"/>
                </a:lnTo>
                <a:lnTo>
                  <a:pt x="1075308" y="57786"/>
                </a:lnTo>
                <a:lnTo>
                  <a:pt x="1224280" y="58167"/>
                </a:lnTo>
                <a:lnTo>
                  <a:pt x="2334132" y="58167"/>
                </a:lnTo>
                <a:lnTo>
                  <a:pt x="2354960" y="49023"/>
                </a:lnTo>
                <a:lnTo>
                  <a:pt x="2361818" y="29083"/>
                </a:lnTo>
                <a:close/>
                <a:moveTo>
                  <a:pt x="-7649083" y="2209800"/>
                </a:moveTo>
              </a:path>
            </a:pathLst>
          </a:custGeom>
          <a:solidFill>
            <a:srgbClr val="EBBD1F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483" name="Rectangle 483"/>
          <p:cNvSpPr/>
          <p:nvPr/>
        </p:nvSpPr>
        <p:spPr>
          <a:xfrm>
            <a:off x="11418951" y="6400508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14</a:t>
            </a:r>
          </a:p>
        </p:txBody>
      </p:sp>
      <p:sp>
        <p:nvSpPr>
          <p:cNvPr id="484" name="Rectangle 484"/>
          <p:cNvSpPr/>
          <p:nvPr/>
        </p:nvSpPr>
        <p:spPr>
          <a:xfrm>
            <a:off x="912812" y="2892016"/>
            <a:ext cx="1011625" cy="58289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Wha</a:t>
            </a:r>
            <a:r>
              <a:rPr lang="fr-FR" sz="1802" b="0" i="0" spc="432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you </a:t>
            </a:r>
          </a:p>
          <a:p>
            <a:pPr marL="291782">
              <a:lnSpc>
                <a:spcPts val="2178"/>
              </a:lnSpc>
            </a:pP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can </a:t>
            </a:r>
          </a:p>
        </p:txBody>
      </p:sp>
      <p:sp>
        <p:nvSpPr>
          <p:cNvPr id="485" name="Rectangle 485"/>
          <p:cNvSpPr/>
          <p:nvPr/>
        </p:nvSpPr>
        <p:spPr>
          <a:xfrm>
            <a:off x="1046797" y="3445102"/>
            <a:ext cx="680113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control</a:t>
            </a:r>
          </a:p>
        </p:txBody>
      </p:sp>
      <p:sp>
        <p:nvSpPr>
          <p:cNvPr id="486" name="Rectangle 486"/>
          <p:cNvSpPr/>
          <p:nvPr/>
        </p:nvSpPr>
        <p:spPr>
          <a:xfrm>
            <a:off x="855344" y="5126836"/>
            <a:ext cx="1124721" cy="85975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150494"/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Wha</a:t>
            </a:r>
            <a:r>
              <a:rPr lang="fr-FR" sz="1802" b="0" i="0" spc="532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is </a:t>
            </a:r>
          </a:p>
          <a:p>
            <a:pPr marL="0">
              <a:lnSpc>
                <a:spcPts val="2180"/>
              </a:lnSpc>
            </a:pP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ou</a:t>
            </a:r>
            <a:r>
              <a:rPr lang="fr-FR" sz="1802" b="0" i="0" spc="418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802" b="0" i="0" spc="478" baseline="0" dirty="0">
                <a:solidFill>
                  <a:srgbClr val="FFFFFF"/>
                </a:solidFill>
                <a:latin typeface="Arial"/>
              </a:rPr>
              <a:t>f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your </a:t>
            </a:r>
          </a:p>
          <a:p>
            <a:pPr marL="279717">
              <a:lnSpc>
                <a:spcPts val="2177"/>
              </a:lnSpc>
            </a:pP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hand</a:t>
            </a:r>
          </a:p>
        </p:txBody>
      </p:sp>
      <p:sp>
        <p:nvSpPr>
          <p:cNvPr id="487" name="Rectangle 487"/>
          <p:cNvSpPr/>
          <p:nvPr/>
        </p:nvSpPr>
        <p:spPr>
          <a:xfrm>
            <a:off x="630555" y="493213"/>
            <a:ext cx="635017" cy="61258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6/7</a:t>
            </a:r>
          </a:p>
        </p:txBody>
      </p:sp>
      <p:sp>
        <p:nvSpPr>
          <p:cNvPr id="488" name="Rectangle 488"/>
          <p:cNvSpPr/>
          <p:nvPr/>
        </p:nvSpPr>
        <p:spPr>
          <a:xfrm>
            <a:off x="630555" y="378659"/>
            <a:ext cx="7535635" cy="122307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635317"/>
            <a:r>
              <a:rPr lang="fr-FR" sz="2402" b="1" i="0" spc="0" baseline="0" dirty="0">
                <a:solidFill>
                  <a:srgbClr val="466CAD"/>
                </a:solidFill>
                <a:latin typeface="Arial"/>
              </a:rPr>
              <a:t>t</a:t>
            </a:r>
            <a:r>
              <a:rPr lang="fr-FR" sz="2402" b="1" i="0" spc="637" baseline="0" dirty="0">
                <a:solidFill>
                  <a:srgbClr val="466CAD"/>
                </a:solidFill>
                <a:latin typeface="Arial"/>
              </a:rPr>
              <a:t>h</a:t>
            </a:r>
            <a:r>
              <a:rPr lang="fr-FR" sz="5460" b="1" i="0" spc="0" baseline="-25020" dirty="0">
                <a:solidFill>
                  <a:srgbClr val="466CAD"/>
                </a:solidFill>
                <a:latin typeface="Arial"/>
              </a:rPr>
              <a:t>is out of your hands </a:t>
            </a:r>
          </a:p>
          <a:p>
            <a:pPr marL="0">
              <a:lnSpc>
                <a:spcPts val="3904"/>
              </a:lnSpc>
            </a:pP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dependin</a:t>
            </a:r>
            <a:r>
              <a:rPr lang="fr-FR" sz="3604" b="1" i="0" spc="989" baseline="0" dirty="0">
                <a:solidFill>
                  <a:srgbClr val="466CAD"/>
                </a:solidFill>
                <a:latin typeface="Arial"/>
              </a:rPr>
              <a:t>g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o</a:t>
            </a:r>
            <a:r>
              <a:rPr lang="fr-FR" sz="3604" b="1" i="0" spc="1020" baseline="0" dirty="0">
                <a:solidFill>
                  <a:srgbClr val="466CAD"/>
                </a:solidFill>
                <a:latin typeface="Arial"/>
              </a:rPr>
              <a:t>n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different parameters</a:t>
            </a:r>
          </a:p>
        </p:txBody>
      </p:sp>
      <p:sp>
        <p:nvSpPr>
          <p:cNvPr id="489" name="Rectangle 489"/>
          <p:cNvSpPr/>
          <p:nvPr/>
        </p:nvSpPr>
        <p:spPr>
          <a:xfrm>
            <a:off x="7241158" y="3030828"/>
            <a:ext cx="1314919" cy="24256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427" b="0" i="0" spc="0" baseline="0" dirty="0">
                <a:solidFill>
                  <a:srgbClr val="555555"/>
                </a:solidFill>
                <a:latin typeface="Arial"/>
              </a:rPr>
              <a:t>You</a:t>
            </a:r>
            <a:r>
              <a:rPr lang="fr-FR" sz="1427" b="0" i="0" spc="343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427" b="0" i="0" spc="0" baseline="0" dirty="0">
                <a:solidFill>
                  <a:srgbClr val="555555"/>
                </a:solidFill>
                <a:latin typeface="Arial"/>
              </a:rPr>
              <a:t>background</a:t>
            </a:r>
          </a:p>
        </p:txBody>
      </p:sp>
      <p:sp>
        <p:nvSpPr>
          <p:cNvPr id="491" name="Rectangle 491"/>
          <p:cNvSpPr/>
          <p:nvPr/>
        </p:nvSpPr>
        <p:spPr>
          <a:xfrm>
            <a:off x="7068184" y="4778100"/>
            <a:ext cx="1563512" cy="132925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425" b="0" i="0" spc="0" baseline="0" dirty="0">
                <a:solidFill>
                  <a:srgbClr val="466CAD"/>
                </a:solidFill>
                <a:latin typeface="Calibri"/>
              </a:rPr>
              <a:t>The people you meet </a:t>
            </a:r>
          </a:p>
          <a:p>
            <a:pPr marL="445134">
              <a:lnSpc>
                <a:spcPts val="1726"/>
              </a:lnSpc>
            </a:pPr>
            <a:r>
              <a:rPr lang="fr-FR" sz="1427" b="0" i="0" spc="0" baseline="0" dirty="0">
                <a:solidFill>
                  <a:srgbClr val="466CAD"/>
                </a:solidFill>
                <a:latin typeface="Calibri"/>
              </a:rPr>
              <a:t>Leve</a:t>
            </a:r>
            <a:r>
              <a:rPr lang="fr-FR" sz="1427" b="0" i="0" spc="282" baseline="0" dirty="0">
                <a:solidFill>
                  <a:srgbClr val="466CAD"/>
                </a:solidFill>
                <a:latin typeface="Calibri"/>
              </a:rPr>
              <a:t>l</a:t>
            </a:r>
            <a:r>
              <a:rPr lang="fr-FR" sz="1427" b="0" i="0" spc="0" baseline="0" dirty="0">
                <a:solidFill>
                  <a:srgbClr val="466CAD"/>
                </a:solidFill>
                <a:latin typeface="Calibri"/>
              </a:rPr>
              <a:t>o</a:t>
            </a:r>
            <a:r>
              <a:rPr lang="fr-FR" sz="1427" b="0" i="0" spc="239" baseline="0" dirty="0">
                <a:solidFill>
                  <a:srgbClr val="466CAD"/>
                </a:solidFill>
                <a:latin typeface="Calibri"/>
              </a:rPr>
              <a:t>f</a:t>
            </a:r>
            <a:r>
              <a:rPr lang="fr-FR" sz="1427" b="0" i="0" spc="0" baseline="0" dirty="0">
                <a:solidFill>
                  <a:srgbClr val="466CAD"/>
                </a:solidFill>
                <a:latin typeface="Calibri"/>
              </a:rPr>
              <a:t>energy </a:t>
            </a:r>
          </a:p>
          <a:p>
            <a:pPr marL="624205">
              <a:lnSpc>
                <a:spcPts val="1652"/>
              </a:lnSpc>
            </a:pPr>
            <a:r>
              <a:rPr lang="fr-FR" sz="1427" b="0" i="0" spc="0" baseline="0" dirty="0">
                <a:solidFill>
                  <a:srgbClr val="466CAD"/>
                </a:solidFill>
                <a:latin typeface="Calibri"/>
              </a:rPr>
              <a:t>Competition </a:t>
            </a:r>
          </a:p>
          <a:p>
            <a:pPr marL="655573">
              <a:lnSpc>
                <a:spcPts val="1727"/>
              </a:lnSpc>
            </a:pPr>
            <a:r>
              <a:rPr lang="fr-FR" sz="1427" b="0" i="0" spc="0" baseline="0" dirty="0">
                <a:solidFill>
                  <a:srgbClr val="466CAD"/>
                </a:solidFill>
                <a:latin typeface="Calibri"/>
              </a:rPr>
              <a:t>Persona</a:t>
            </a:r>
            <a:r>
              <a:rPr lang="fr-FR" sz="1427" b="0" i="0" spc="278" baseline="0" dirty="0">
                <a:solidFill>
                  <a:srgbClr val="466CAD"/>
                </a:solidFill>
                <a:latin typeface="Calibri"/>
              </a:rPr>
              <a:t>l</a:t>
            </a:r>
            <a:r>
              <a:rPr lang="fr-FR" sz="1427" b="0" i="0" spc="0" baseline="0" dirty="0">
                <a:solidFill>
                  <a:srgbClr val="466CAD"/>
                </a:solidFill>
                <a:latin typeface="Calibri"/>
              </a:rPr>
              <a:t>life</a:t>
            </a:r>
          </a:p>
          <a:p>
            <a:pPr marL="1024255">
              <a:lnSpc>
                <a:spcPts val="1652"/>
              </a:lnSpc>
            </a:pPr>
            <a:r>
              <a:rPr lang="fr-FR" sz="1427" b="0" i="0" spc="0" baseline="0" dirty="0">
                <a:solidFill>
                  <a:srgbClr val="466CAD"/>
                </a:solidFill>
                <a:latin typeface="Calibri"/>
              </a:rPr>
              <a:t>Timing</a:t>
            </a:r>
          </a:p>
          <a:p>
            <a:pPr marL="906526">
              <a:lnSpc>
                <a:spcPts val="1652"/>
              </a:lnSpc>
            </a:pPr>
            <a:r>
              <a:rPr lang="fr-FR" sz="1427" b="0" i="0" spc="0" baseline="0" dirty="0">
                <a:solidFill>
                  <a:srgbClr val="466CAD"/>
                </a:solidFill>
                <a:latin typeface="Calibri"/>
              </a:rPr>
              <a:t>Random</a:t>
            </a:r>
          </a:p>
        </p:txBody>
      </p:sp>
      <p:sp>
        <p:nvSpPr>
          <p:cNvPr id="493" name="Rectangle 493"/>
          <p:cNvSpPr/>
          <p:nvPr/>
        </p:nvSpPr>
        <p:spPr>
          <a:xfrm>
            <a:off x="7974710" y="6065247"/>
            <a:ext cx="529555" cy="26149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427" b="0" i="0" spc="0" baseline="0" dirty="0">
                <a:solidFill>
                  <a:srgbClr val="466CAD"/>
                </a:solidFill>
                <a:latin typeface="Calibri"/>
              </a:rPr>
              <a:t>Chance</a:t>
            </a:r>
          </a:p>
        </p:txBody>
      </p:sp>
      <p:sp>
        <p:nvSpPr>
          <p:cNvPr id="2" name="Freeform 480">
            <a:extLst>
              <a:ext uri="{FF2B5EF4-FFF2-40B4-BE49-F238E27FC236}">
                <a16:creationId xmlns:a16="http://schemas.microsoft.com/office/drawing/2014/main" id="{9D1D29D1-3001-7F43-8CD1-F703BA0D2479}"/>
              </a:ext>
            </a:extLst>
          </p:cNvPr>
          <p:cNvSpPr/>
          <p:nvPr/>
        </p:nvSpPr>
        <p:spPr>
          <a:xfrm>
            <a:off x="8791575" y="3367546"/>
            <a:ext cx="1780920" cy="76326"/>
          </a:xfrm>
          <a:custGeom>
            <a:avLst/>
            <a:gdLst/>
            <a:ahLst/>
            <a:cxnLst/>
            <a:rect l="0" t="0" r="0" b="0"/>
            <a:pathLst>
              <a:path w="1780920" h="76326">
                <a:moveTo>
                  <a:pt x="1780920" y="34544"/>
                </a:moveTo>
                <a:lnTo>
                  <a:pt x="1778127" y="31750"/>
                </a:lnTo>
                <a:lnTo>
                  <a:pt x="74930" y="31750"/>
                </a:lnTo>
                <a:lnTo>
                  <a:pt x="73152" y="23241"/>
                </a:lnTo>
                <a:lnTo>
                  <a:pt x="65023" y="11176"/>
                </a:lnTo>
                <a:lnTo>
                  <a:pt x="52958" y="3048"/>
                </a:lnTo>
                <a:lnTo>
                  <a:pt x="38100" y="0"/>
                </a:lnTo>
                <a:lnTo>
                  <a:pt x="23241" y="3048"/>
                </a:lnTo>
                <a:lnTo>
                  <a:pt x="11176" y="11176"/>
                </a:lnTo>
                <a:lnTo>
                  <a:pt x="2920" y="23241"/>
                </a:lnTo>
                <a:lnTo>
                  <a:pt x="0" y="38100"/>
                </a:lnTo>
                <a:lnTo>
                  <a:pt x="2920" y="53085"/>
                </a:lnTo>
                <a:lnTo>
                  <a:pt x="11176" y="65151"/>
                </a:lnTo>
                <a:lnTo>
                  <a:pt x="23241" y="73279"/>
                </a:lnTo>
                <a:lnTo>
                  <a:pt x="38100" y="76326"/>
                </a:lnTo>
                <a:lnTo>
                  <a:pt x="52958" y="73279"/>
                </a:lnTo>
                <a:lnTo>
                  <a:pt x="65023" y="65151"/>
                </a:lnTo>
                <a:lnTo>
                  <a:pt x="73152" y="53085"/>
                </a:lnTo>
                <a:lnTo>
                  <a:pt x="74930" y="44450"/>
                </a:lnTo>
                <a:lnTo>
                  <a:pt x="1778127" y="44450"/>
                </a:lnTo>
                <a:lnTo>
                  <a:pt x="1780920" y="41656"/>
                </a:lnTo>
                <a:lnTo>
                  <a:pt x="1780920" y="34544"/>
                </a:lnTo>
                <a:close/>
                <a:moveTo>
                  <a:pt x="-5731511" y="3094608"/>
                </a:moveTo>
              </a:path>
            </a:pathLst>
          </a:custGeom>
          <a:solidFill>
            <a:srgbClr val="BCBCBC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" name="Rectangle 490">
            <a:extLst>
              <a:ext uri="{FF2B5EF4-FFF2-40B4-BE49-F238E27FC236}">
                <a16:creationId xmlns:a16="http://schemas.microsoft.com/office/drawing/2014/main" id="{302FE738-FD15-AB7B-1417-2FF6C78BCE24}"/>
              </a:ext>
            </a:extLst>
          </p:cNvPr>
          <p:cNvSpPr/>
          <p:nvPr/>
        </p:nvSpPr>
        <p:spPr>
          <a:xfrm>
            <a:off x="7173918" y="3247757"/>
            <a:ext cx="1441100" cy="21961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427" b="0" i="0" spc="0" baseline="0" dirty="0">
                <a:solidFill>
                  <a:srgbClr val="555555"/>
                </a:solidFill>
                <a:latin typeface="Arial"/>
              </a:rPr>
              <a:t>The </a:t>
            </a:r>
            <a:r>
              <a:rPr lang="fr-FR" sz="1427" b="0" i="0" spc="0" baseline="0" dirty="0" err="1">
                <a:solidFill>
                  <a:srgbClr val="555555"/>
                </a:solidFill>
                <a:latin typeface="Arial"/>
              </a:rPr>
              <a:t>firm’s</a:t>
            </a:r>
            <a:r>
              <a:rPr lang="fr-FR" sz="1427" b="0" i="0" spc="0" baseline="0" dirty="0">
                <a:solidFill>
                  <a:srgbClr val="555555"/>
                </a:solidFill>
                <a:latin typeface="Arial"/>
              </a:rPr>
              <a:t> </a:t>
            </a:r>
            <a:r>
              <a:rPr lang="fr-FR" sz="1427" b="0" i="0" spc="0" baseline="0" dirty="0" err="1">
                <a:solidFill>
                  <a:srgbClr val="555555"/>
                </a:solidFill>
                <a:latin typeface="Arial"/>
              </a:rPr>
              <a:t>context</a:t>
            </a:r>
            <a:endParaRPr lang="fr-FR" sz="1427" b="0" i="0" spc="0" baseline="0" dirty="0">
              <a:solidFill>
                <a:srgbClr val="555555"/>
              </a:solidFill>
              <a:latin typeface="Arial"/>
            </a:endParaRPr>
          </a:p>
        </p:txBody>
      </p:sp>
      <p:sp>
        <p:nvSpPr>
          <p:cNvPr id="4" name="Freeform 480"/>
          <p:cNvSpPr/>
          <p:nvPr/>
        </p:nvSpPr>
        <p:spPr>
          <a:xfrm>
            <a:off x="8791575" y="3618754"/>
            <a:ext cx="1780920" cy="76326"/>
          </a:xfrm>
          <a:custGeom>
            <a:avLst/>
            <a:gdLst/>
            <a:ahLst/>
            <a:cxnLst/>
            <a:rect l="0" t="0" r="0" b="0"/>
            <a:pathLst>
              <a:path w="1780920" h="76326">
                <a:moveTo>
                  <a:pt x="1780920" y="34544"/>
                </a:moveTo>
                <a:lnTo>
                  <a:pt x="1778127" y="31750"/>
                </a:lnTo>
                <a:lnTo>
                  <a:pt x="74930" y="31750"/>
                </a:lnTo>
                <a:lnTo>
                  <a:pt x="73152" y="23241"/>
                </a:lnTo>
                <a:lnTo>
                  <a:pt x="65023" y="11176"/>
                </a:lnTo>
                <a:lnTo>
                  <a:pt x="52958" y="3048"/>
                </a:lnTo>
                <a:lnTo>
                  <a:pt x="38100" y="0"/>
                </a:lnTo>
                <a:lnTo>
                  <a:pt x="23241" y="3048"/>
                </a:lnTo>
                <a:lnTo>
                  <a:pt x="11176" y="11176"/>
                </a:lnTo>
                <a:lnTo>
                  <a:pt x="2920" y="23241"/>
                </a:lnTo>
                <a:lnTo>
                  <a:pt x="0" y="38100"/>
                </a:lnTo>
                <a:lnTo>
                  <a:pt x="2920" y="53085"/>
                </a:lnTo>
                <a:lnTo>
                  <a:pt x="11176" y="65151"/>
                </a:lnTo>
                <a:lnTo>
                  <a:pt x="23241" y="73279"/>
                </a:lnTo>
                <a:lnTo>
                  <a:pt x="38100" y="76326"/>
                </a:lnTo>
                <a:lnTo>
                  <a:pt x="52958" y="73279"/>
                </a:lnTo>
                <a:lnTo>
                  <a:pt x="65023" y="65151"/>
                </a:lnTo>
                <a:lnTo>
                  <a:pt x="73152" y="53085"/>
                </a:lnTo>
                <a:lnTo>
                  <a:pt x="74930" y="44450"/>
                </a:lnTo>
                <a:lnTo>
                  <a:pt x="1778127" y="44450"/>
                </a:lnTo>
                <a:lnTo>
                  <a:pt x="1780920" y="41656"/>
                </a:lnTo>
                <a:lnTo>
                  <a:pt x="1780920" y="34544"/>
                </a:lnTo>
                <a:close/>
                <a:moveTo>
                  <a:pt x="-5731511" y="3094608"/>
                </a:moveTo>
              </a:path>
            </a:pathLst>
          </a:custGeom>
          <a:solidFill>
            <a:srgbClr val="BCBCBC">
              <a:alpha val="100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" name="Rectangle 490"/>
          <p:cNvSpPr/>
          <p:nvPr/>
        </p:nvSpPr>
        <p:spPr>
          <a:xfrm>
            <a:off x="6379590" y="3498965"/>
            <a:ext cx="2179338" cy="24256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427" b="0" i="0" spc="0" baseline="0" dirty="0">
                <a:solidFill>
                  <a:srgbClr val="555555"/>
                </a:solidFill>
                <a:latin typeface="Arial"/>
              </a:rPr>
              <a:t>Th</a:t>
            </a:r>
            <a:r>
              <a:rPr lang="fr-FR" sz="1427" b="0" i="0" spc="296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427" b="0" i="0" spc="0" baseline="0" dirty="0">
                <a:solidFill>
                  <a:srgbClr val="555555"/>
                </a:solidFill>
                <a:latin typeface="Arial"/>
              </a:rPr>
              <a:t>fina</a:t>
            </a:r>
            <a:r>
              <a:rPr lang="fr-FR" sz="1427" b="0" i="0" spc="357" baseline="0" dirty="0">
                <a:solidFill>
                  <a:srgbClr val="555555"/>
                </a:solidFill>
                <a:latin typeface="Arial"/>
              </a:rPr>
              <a:t>l</a:t>
            </a:r>
            <a:r>
              <a:rPr lang="fr-FR" sz="1427" b="0" i="0" spc="0" baseline="0" dirty="0">
                <a:solidFill>
                  <a:srgbClr val="555555"/>
                </a:solidFill>
                <a:latin typeface="Arial"/>
              </a:rPr>
              <a:t>decisio</a:t>
            </a:r>
            <a:r>
              <a:rPr lang="fr-FR" sz="1427" b="0" i="0" spc="320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1427" b="0" i="0" spc="0" baseline="0" dirty="0">
                <a:solidFill>
                  <a:srgbClr val="555555"/>
                </a:solidFill>
                <a:latin typeface="Arial"/>
              </a:rPr>
              <a:t>yo</a:t>
            </a:r>
            <a:r>
              <a:rPr lang="fr-FR" sz="1427" b="0" i="0" spc="316" baseline="0" dirty="0">
                <a:solidFill>
                  <a:srgbClr val="555555"/>
                </a:solidFill>
                <a:latin typeface="Arial"/>
              </a:rPr>
              <a:t>u</a:t>
            </a:r>
            <a:r>
              <a:rPr lang="fr-FR" sz="1427" b="0" i="0" spc="0" baseline="0" dirty="0">
                <a:solidFill>
                  <a:srgbClr val="555555"/>
                </a:solidFill>
                <a:latin typeface="Arial"/>
              </a:rPr>
              <a:t>make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Freeform 503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04" name="Freeform 504"/>
          <p:cNvSpPr/>
          <p:nvPr/>
        </p:nvSpPr>
        <p:spPr>
          <a:xfrm>
            <a:off x="666750" y="1143030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05" name="Freeform 505"/>
          <p:cNvSpPr/>
          <p:nvPr/>
        </p:nvSpPr>
        <p:spPr>
          <a:xfrm>
            <a:off x="671512" y="1147729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noFill/>
          <a:ln w="10666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06" name="Freeform 506"/>
          <p:cNvSpPr/>
          <p:nvPr/>
        </p:nvSpPr>
        <p:spPr>
          <a:xfrm>
            <a:off x="8372475" y="1819275"/>
            <a:ext cx="3409442" cy="3409696"/>
          </a:xfrm>
          <a:custGeom>
            <a:avLst/>
            <a:gdLst/>
            <a:ahLst/>
            <a:cxnLst/>
            <a:rect l="0" t="0" r="0" b="0"/>
            <a:pathLst>
              <a:path w="3409442" h="3409696">
                <a:moveTo>
                  <a:pt x="1704720" y="0"/>
                </a:moveTo>
                <a:lnTo>
                  <a:pt x="1656206" y="635"/>
                </a:lnTo>
                <a:lnTo>
                  <a:pt x="1607946" y="2667"/>
                </a:lnTo>
                <a:lnTo>
                  <a:pt x="1560194" y="6097"/>
                </a:lnTo>
                <a:lnTo>
                  <a:pt x="1512696" y="10668"/>
                </a:lnTo>
                <a:lnTo>
                  <a:pt x="1465580" y="16637"/>
                </a:lnTo>
                <a:lnTo>
                  <a:pt x="1418843" y="23877"/>
                </a:lnTo>
                <a:lnTo>
                  <a:pt x="1372616" y="32385"/>
                </a:lnTo>
                <a:lnTo>
                  <a:pt x="1326895" y="42037"/>
                </a:lnTo>
                <a:lnTo>
                  <a:pt x="1281556" y="52960"/>
                </a:lnTo>
                <a:lnTo>
                  <a:pt x="1236598" y="65024"/>
                </a:lnTo>
                <a:lnTo>
                  <a:pt x="1192276" y="78360"/>
                </a:lnTo>
                <a:lnTo>
                  <a:pt x="1148460" y="92837"/>
                </a:lnTo>
                <a:lnTo>
                  <a:pt x="1105154" y="108459"/>
                </a:lnTo>
                <a:lnTo>
                  <a:pt x="1062355" y="125222"/>
                </a:lnTo>
                <a:lnTo>
                  <a:pt x="1020191" y="143003"/>
                </a:lnTo>
                <a:lnTo>
                  <a:pt x="978534" y="161925"/>
                </a:lnTo>
                <a:lnTo>
                  <a:pt x="937514" y="181991"/>
                </a:lnTo>
                <a:lnTo>
                  <a:pt x="897128" y="203073"/>
                </a:lnTo>
                <a:lnTo>
                  <a:pt x="857377" y="225172"/>
                </a:lnTo>
                <a:lnTo>
                  <a:pt x="818388" y="248285"/>
                </a:lnTo>
                <a:lnTo>
                  <a:pt x="779906" y="272416"/>
                </a:lnTo>
                <a:lnTo>
                  <a:pt x="742188" y="297561"/>
                </a:lnTo>
                <a:lnTo>
                  <a:pt x="705231" y="323597"/>
                </a:lnTo>
                <a:lnTo>
                  <a:pt x="669035" y="350647"/>
                </a:lnTo>
                <a:lnTo>
                  <a:pt x="633476" y="378587"/>
                </a:lnTo>
                <a:lnTo>
                  <a:pt x="598805" y="407416"/>
                </a:lnTo>
                <a:lnTo>
                  <a:pt x="564768" y="437261"/>
                </a:lnTo>
                <a:lnTo>
                  <a:pt x="531621" y="467868"/>
                </a:lnTo>
                <a:lnTo>
                  <a:pt x="499364" y="499365"/>
                </a:lnTo>
                <a:lnTo>
                  <a:pt x="467868" y="531749"/>
                </a:lnTo>
                <a:lnTo>
                  <a:pt x="437133" y="564897"/>
                </a:lnTo>
                <a:lnTo>
                  <a:pt x="407416" y="598805"/>
                </a:lnTo>
                <a:lnTo>
                  <a:pt x="378586" y="633604"/>
                </a:lnTo>
                <a:lnTo>
                  <a:pt x="350646" y="669036"/>
                </a:lnTo>
                <a:lnTo>
                  <a:pt x="323595" y="705359"/>
                </a:lnTo>
                <a:lnTo>
                  <a:pt x="297560" y="742316"/>
                </a:lnTo>
                <a:lnTo>
                  <a:pt x="272415" y="780035"/>
                </a:lnTo>
                <a:lnTo>
                  <a:pt x="248284" y="818389"/>
                </a:lnTo>
                <a:lnTo>
                  <a:pt x="225170" y="857504"/>
                </a:lnTo>
                <a:lnTo>
                  <a:pt x="203072" y="897255"/>
                </a:lnTo>
                <a:lnTo>
                  <a:pt x="181991" y="937641"/>
                </a:lnTo>
                <a:lnTo>
                  <a:pt x="161925" y="978662"/>
                </a:lnTo>
                <a:lnTo>
                  <a:pt x="143002" y="1020191"/>
                </a:lnTo>
                <a:lnTo>
                  <a:pt x="125221" y="1062483"/>
                </a:lnTo>
                <a:lnTo>
                  <a:pt x="108457" y="1105154"/>
                </a:lnTo>
                <a:lnTo>
                  <a:pt x="92836" y="1148461"/>
                </a:lnTo>
                <a:lnTo>
                  <a:pt x="78358" y="1192404"/>
                </a:lnTo>
                <a:lnTo>
                  <a:pt x="65023" y="1236727"/>
                </a:lnTo>
                <a:lnTo>
                  <a:pt x="52958" y="1281558"/>
                </a:lnTo>
                <a:lnTo>
                  <a:pt x="42036" y="1327023"/>
                </a:lnTo>
                <a:lnTo>
                  <a:pt x="32384" y="1372743"/>
                </a:lnTo>
                <a:lnTo>
                  <a:pt x="23876" y="1418972"/>
                </a:lnTo>
                <a:lnTo>
                  <a:pt x="16636" y="1465708"/>
                </a:lnTo>
                <a:lnTo>
                  <a:pt x="10668" y="1512824"/>
                </a:lnTo>
                <a:lnTo>
                  <a:pt x="6095" y="1560322"/>
                </a:lnTo>
                <a:lnTo>
                  <a:pt x="2667" y="1608074"/>
                </a:lnTo>
                <a:lnTo>
                  <a:pt x="634" y="1656335"/>
                </a:lnTo>
                <a:lnTo>
                  <a:pt x="0" y="1704848"/>
                </a:lnTo>
                <a:lnTo>
                  <a:pt x="634" y="1753362"/>
                </a:lnTo>
                <a:lnTo>
                  <a:pt x="2667" y="1801623"/>
                </a:lnTo>
                <a:lnTo>
                  <a:pt x="6095" y="1849374"/>
                </a:lnTo>
                <a:lnTo>
                  <a:pt x="10668" y="1896873"/>
                </a:lnTo>
                <a:lnTo>
                  <a:pt x="16636" y="1943990"/>
                </a:lnTo>
                <a:lnTo>
                  <a:pt x="23876" y="1990725"/>
                </a:lnTo>
                <a:lnTo>
                  <a:pt x="32384" y="2036953"/>
                </a:lnTo>
                <a:lnTo>
                  <a:pt x="42036" y="2082674"/>
                </a:lnTo>
                <a:lnTo>
                  <a:pt x="52958" y="2128140"/>
                </a:lnTo>
                <a:lnTo>
                  <a:pt x="65023" y="2172971"/>
                </a:lnTo>
                <a:lnTo>
                  <a:pt x="78358" y="2217293"/>
                </a:lnTo>
                <a:lnTo>
                  <a:pt x="92836" y="2261108"/>
                </a:lnTo>
                <a:lnTo>
                  <a:pt x="108457" y="2304543"/>
                </a:lnTo>
                <a:lnTo>
                  <a:pt x="125221" y="2347215"/>
                </a:lnTo>
                <a:lnTo>
                  <a:pt x="143002" y="2389505"/>
                </a:lnTo>
                <a:lnTo>
                  <a:pt x="161925" y="2431034"/>
                </a:lnTo>
                <a:lnTo>
                  <a:pt x="181991" y="2472055"/>
                </a:lnTo>
                <a:lnTo>
                  <a:pt x="203072" y="2512442"/>
                </a:lnTo>
                <a:lnTo>
                  <a:pt x="225170" y="2552193"/>
                </a:lnTo>
                <a:lnTo>
                  <a:pt x="248284" y="2591308"/>
                </a:lnTo>
                <a:lnTo>
                  <a:pt x="272415" y="2629662"/>
                </a:lnTo>
                <a:lnTo>
                  <a:pt x="297560" y="2667381"/>
                </a:lnTo>
                <a:lnTo>
                  <a:pt x="323595" y="2704339"/>
                </a:lnTo>
                <a:lnTo>
                  <a:pt x="350646" y="2740661"/>
                </a:lnTo>
                <a:lnTo>
                  <a:pt x="378586" y="2776093"/>
                </a:lnTo>
                <a:lnTo>
                  <a:pt x="407416" y="2810892"/>
                </a:lnTo>
                <a:lnTo>
                  <a:pt x="437133" y="2844800"/>
                </a:lnTo>
                <a:lnTo>
                  <a:pt x="467868" y="2877948"/>
                </a:lnTo>
                <a:lnTo>
                  <a:pt x="499364" y="2910333"/>
                </a:lnTo>
                <a:lnTo>
                  <a:pt x="531621" y="2941828"/>
                </a:lnTo>
                <a:lnTo>
                  <a:pt x="564768" y="2972436"/>
                </a:lnTo>
                <a:lnTo>
                  <a:pt x="598805" y="3002280"/>
                </a:lnTo>
                <a:lnTo>
                  <a:pt x="633476" y="3031109"/>
                </a:lnTo>
                <a:lnTo>
                  <a:pt x="669035" y="3059049"/>
                </a:lnTo>
                <a:lnTo>
                  <a:pt x="705231" y="3086100"/>
                </a:lnTo>
                <a:lnTo>
                  <a:pt x="742188" y="3112136"/>
                </a:lnTo>
                <a:lnTo>
                  <a:pt x="779906" y="3137281"/>
                </a:lnTo>
                <a:lnTo>
                  <a:pt x="818388" y="3161411"/>
                </a:lnTo>
                <a:lnTo>
                  <a:pt x="857377" y="3184525"/>
                </a:lnTo>
                <a:lnTo>
                  <a:pt x="897128" y="3206624"/>
                </a:lnTo>
                <a:lnTo>
                  <a:pt x="937514" y="3227705"/>
                </a:lnTo>
                <a:lnTo>
                  <a:pt x="978534" y="3247771"/>
                </a:lnTo>
                <a:lnTo>
                  <a:pt x="1020191" y="3266695"/>
                </a:lnTo>
                <a:lnTo>
                  <a:pt x="1062355" y="3284474"/>
                </a:lnTo>
                <a:lnTo>
                  <a:pt x="1105154" y="3301239"/>
                </a:lnTo>
                <a:lnTo>
                  <a:pt x="1148460" y="3316859"/>
                </a:lnTo>
                <a:lnTo>
                  <a:pt x="1192276" y="3331337"/>
                </a:lnTo>
                <a:lnTo>
                  <a:pt x="1236598" y="3344673"/>
                </a:lnTo>
                <a:lnTo>
                  <a:pt x="1281556" y="3356737"/>
                </a:lnTo>
                <a:lnTo>
                  <a:pt x="1326895" y="3367659"/>
                </a:lnTo>
                <a:lnTo>
                  <a:pt x="1372616" y="3377311"/>
                </a:lnTo>
                <a:lnTo>
                  <a:pt x="1418843" y="3385821"/>
                </a:lnTo>
                <a:lnTo>
                  <a:pt x="1465580" y="3393059"/>
                </a:lnTo>
                <a:lnTo>
                  <a:pt x="1512696" y="3399028"/>
                </a:lnTo>
                <a:lnTo>
                  <a:pt x="1560194" y="3403600"/>
                </a:lnTo>
                <a:lnTo>
                  <a:pt x="1607946" y="3407030"/>
                </a:lnTo>
                <a:lnTo>
                  <a:pt x="1656206" y="3409061"/>
                </a:lnTo>
                <a:lnTo>
                  <a:pt x="1704720" y="3409696"/>
                </a:lnTo>
                <a:lnTo>
                  <a:pt x="1753234" y="3409061"/>
                </a:lnTo>
                <a:lnTo>
                  <a:pt x="1801494" y="3407030"/>
                </a:lnTo>
                <a:lnTo>
                  <a:pt x="1849246" y="3403600"/>
                </a:lnTo>
                <a:lnTo>
                  <a:pt x="1896744" y="3399028"/>
                </a:lnTo>
                <a:lnTo>
                  <a:pt x="1943861" y="3393059"/>
                </a:lnTo>
                <a:lnTo>
                  <a:pt x="1990470" y="3385821"/>
                </a:lnTo>
                <a:lnTo>
                  <a:pt x="2036826" y="3377311"/>
                </a:lnTo>
                <a:lnTo>
                  <a:pt x="2082545" y="3367659"/>
                </a:lnTo>
                <a:lnTo>
                  <a:pt x="2127884" y="3356737"/>
                </a:lnTo>
                <a:lnTo>
                  <a:pt x="2172843" y="3344673"/>
                </a:lnTo>
                <a:lnTo>
                  <a:pt x="2217166" y="3331337"/>
                </a:lnTo>
                <a:lnTo>
                  <a:pt x="2260981" y="3316859"/>
                </a:lnTo>
                <a:lnTo>
                  <a:pt x="2304288" y="3301239"/>
                </a:lnTo>
                <a:lnTo>
                  <a:pt x="2347086" y="3284474"/>
                </a:lnTo>
                <a:lnTo>
                  <a:pt x="2389251" y="3266695"/>
                </a:lnTo>
                <a:lnTo>
                  <a:pt x="2430906" y="3247771"/>
                </a:lnTo>
                <a:lnTo>
                  <a:pt x="2471928" y="3227705"/>
                </a:lnTo>
                <a:lnTo>
                  <a:pt x="2512314" y="3206624"/>
                </a:lnTo>
                <a:lnTo>
                  <a:pt x="2552065" y="3184525"/>
                </a:lnTo>
                <a:lnTo>
                  <a:pt x="2591054" y="3161411"/>
                </a:lnTo>
                <a:lnTo>
                  <a:pt x="2629534" y="3137281"/>
                </a:lnTo>
                <a:lnTo>
                  <a:pt x="2667254" y="3112136"/>
                </a:lnTo>
                <a:lnTo>
                  <a:pt x="2704210" y="3086100"/>
                </a:lnTo>
                <a:lnTo>
                  <a:pt x="2740406" y="3059049"/>
                </a:lnTo>
                <a:lnTo>
                  <a:pt x="2775966" y="3031109"/>
                </a:lnTo>
                <a:lnTo>
                  <a:pt x="2810636" y="3002280"/>
                </a:lnTo>
                <a:lnTo>
                  <a:pt x="2844672" y="2972436"/>
                </a:lnTo>
                <a:lnTo>
                  <a:pt x="2877819" y="2941828"/>
                </a:lnTo>
                <a:lnTo>
                  <a:pt x="2910078" y="2910333"/>
                </a:lnTo>
                <a:lnTo>
                  <a:pt x="2941573" y="2877948"/>
                </a:lnTo>
                <a:lnTo>
                  <a:pt x="2972307" y="2844800"/>
                </a:lnTo>
                <a:lnTo>
                  <a:pt x="3002026" y="2810892"/>
                </a:lnTo>
                <a:lnTo>
                  <a:pt x="3030855" y="2776093"/>
                </a:lnTo>
                <a:lnTo>
                  <a:pt x="3058794" y="2740661"/>
                </a:lnTo>
                <a:lnTo>
                  <a:pt x="3085845" y="2704339"/>
                </a:lnTo>
                <a:lnTo>
                  <a:pt x="3111881" y="2667381"/>
                </a:lnTo>
                <a:lnTo>
                  <a:pt x="3137027" y="2629662"/>
                </a:lnTo>
                <a:lnTo>
                  <a:pt x="3161156" y="2591308"/>
                </a:lnTo>
                <a:lnTo>
                  <a:pt x="3184270" y="2552193"/>
                </a:lnTo>
                <a:lnTo>
                  <a:pt x="3206368" y="2512442"/>
                </a:lnTo>
                <a:lnTo>
                  <a:pt x="3227451" y="2472055"/>
                </a:lnTo>
                <a:lnTo>
                  <a:pt x="3247517" y="2431034"/>
                </a:lnTo>
                <a:lnTo>
                  <a:pt x="3266440" y="2389505"/>
                </a:lnTo>
                <a:lnTo>
                  <a:pt x="3284219" y="2347215"/>
                </a:lnTo>
                <a:lnTo>
                  <a:pt x="3300983" y="2304543"/>
                </a:lnTo>
                <a:lnTo>
                  <a:pt x="3316605" y="2261108"/>
                </a:lnTo>
                <a:lnTo>
                  <a:pt x="3331082" y="2217293"/>
                </a:lnTo>
                <a:lnTo>
                  <a:pt x="3344418" y="2172971"/>
                </a:lnTo>
                <a:lnTo>
                  <a:pt x="3356482" y="2128140"/>
                </a:lnTo>
                <a:lnTo>
                  <a:pt x="3367405" y="2082674"/>
                </a:lnTo>
                <a:lnTo>
                  <a:pt x="3377056" y="2036953"/>
                </a:lnTo>
                <a:lnTo>
                  <a:pt x="3385566" y="1990725"/>
                </a:lnTo>
                <a:lnTo>
                  <a:pt x="3392805" y="1943990"/>
                </a:lnTo>
                <a:lnTo>
                  <a:pt x="3398773" y="1896873"/>
                </a:lnTo>
                <a:lnTo>
                  <a:pt x="3403345" y="1849374"/>
                </a:lnTo>
                <a:lnTo>
                  <a:pt x="3406775" y="1801623"/>
                </a:lnTo>
                <a:lnTo>
                  <a:pt x="3408806" y="1753362"/>
                </a:lnTo>
                <a:lnTo>
                  <a:pt x="3409442" y="1704848"/>
                </a:lnTo>
                <a:lnTo>
                  <a:pt x="3408806" y="1656335"/>
                </a:lnTo>
                <a:lnTo>
                  <a:pt x="3406775" y="1608074"/>
                </a:lnTo>
                <a:lnTo>
                  <a:pt x="3403345" y="1560322"/>
                </a:lnTo>
                <a:lnTo>
                  <a:pt x="3398773" y="1512824"/>
                </a:lnTo>
                <a:lnTo>
                  <a:pt x="3392805" y="1465708"/>
                </a:lnTo>
                <a:lnTo>
                  <a:pt x="3385566" y="1418972"/>
                </a:lnTo>
                <a:lnTo>
                  <a:pt x="3377056" y="1372743"/>
                </a:lnTo>
                <a:lnTo>
                  <a:pt x="3367405" y="1327023"/>
                </a:lnTo>
                <a:lnTo>
                  <a:pt x="3356482" y="1281558"/>
                </a:lnTo>
                <a:lnTo>
                  <a:pt x="3344418" y="1236727"/>
                </a:lnTo>
                <a:lnTo>
                  <a:pt x="3331082" y="1192404"/>
                </a:lnTo>
                <a:lnTo>
                  <a:pt x="3316605" y="1148461"/>
                </a:lnTo>
                <a:lnTo>
                  <a:pt x="3300983" y="1105154"/>
                </a:lnTo>
                <a:lnTo>
                  <a:pt x="3284219" y="1062483"/>
                </a:lnTo>
                <a:lnTo>
                  <a:pt x="3266440" y="1020191"/>
                </a:lnTo>
                <a:lnTo>
                  <a:pt x="3247517" y="978662"/>
                </a:lnTo>
                <a:lnTo>
                  <a:pt x="3227451" y="937641"/>
                </a:lnTo>
                <a:lnTo>
                  <a:pt x="3206368" y="897255"/>
                </a:lnTo>
                <a:lnTo>
                  <a:pt x="3184270" y="857504"/>
                </a:lnTo>
                <a:lnTo>
                  <a:pt x="3161156" y="818389"/>
                </a:lnTo>
                <a:lnTo>
                  <a:pt x="3137027" y="780035"/>
                </a:lnTo>
                <a:lnTo>
                  <a:pt x="3111881" y="742316"/>
                </a:lnTo>
                <a:lnTo>
                  <a:pt x="3085845" y="705359"/>
                </a:lnTo>
                <a:lnTo>
                  <a:pt x="3058794" y="669036"/>
                </a:lnTo>
                <a:lnTo>
                  <a:pt x="3030855" y="633604"/>
                </a:lnTo>
                <a:lnTo>
                  <a:pt x="3002026" y="598805"/>
                </a:lnTo>
                <a:lnTo>
                  <a:pt x="2972307" y="564897"/>
                </a:lnTo>
                <a:lnTo>
                  <a:pt x="2941573" y="531749"/>
                </a:lnTo>
                <a:lnTo>
                  <a:pt x="2910078" y="499365"/>
                </a:lnTo>
                <a:lnTo>
                  <a:pt x="2877819" y="467868"/>
                </a:lnTo>
                <a:lnTo>
                  <a:pt x="2844672" y="437261"/>
                </a:lnTo>
                <a:lnTo>
                  <a:pt x="2810636" y="407416"/>
                </a:lnTo>
                <a:lnTo>
                  <a:pt x="2775966" y="378587"/>
                </a:lnTo>
                <a:lnTo>
                  <a:pt x="2740406" y="350647"/>
                </a:lnTo>
                <a:lnTo>
                  <a:pt x="2704210" y="323597"/>
                </a:lnTo>
                <a:lnTo>
                  <a:pt x="2667254" y="297561"/>
                </a:lnTo>
                <a:lnTo>
                  <a:pt x="2629534" y="272416"/>
                </a:lnTo>
                <a:lnTo>
                  <a:pt x="2591054" y="248285"/>
                </a:lnTo>
                <a:lnTo>
                  <a:pt x="2552065" y="225172"/>
                </a:lnTo>
                <a:lnTo>
                  <a:pt x="2512314" y="203073"/>
                </a:lnTo>
                <a:lnTo>
                  <a:pt x="2471928" y="181991"/>
                </a:lnTo>
                <a:lnTo>
                  <a:pt x="2430906" y="161925"/>
                </a:lnTo>
                <a:lnTo>
                  <a:pt x="2389251" y="143003"/>
                </a:lnTo>
                <a:lnTo>
                  <a:pt x="2347086" y="125222"/>
                </a:lnTo>
                <a:lnTo>
                  <a:pt x="2304288" y="108459"/>
                </a:lnTo>
                <a:lnTo>
                  <a:pt x="2260981" y="92837"/>
                </a:lnTo>
                <a:lnTo>
                  <a:pt x="2217166" y="78360"/>
                </a:lnTo>
                <a:lnTo>
                  <a:pt x="2172843" y="65024"/>
                </a:lnTo>
                <a:lnTo>
                  <a:pt x="2127884" y="52960"/>
                </a:lnTo>
                <a:lnTo>
                  <a:pt x="2082545" y="42037"/>
                </a:lnTo>
                <a:lnTo>
                  <a:pt x="2036826" y="32385"/>
                </a:lnTo>
                <a:lnTo>
                  <a:pt x="1990470" y="23877"/>
                </a:lnTo>
                <a:lnTo>
                  <a:pt x="1943861" y="16637"/>
                </a:lnTo>
                <a:lnTo>
                  <a:pt x="1896744" y="10668"/>
                </a:lnTo>
                <a:lnTo>
                  <a:pt x="1849246" y="6097"/>
                </a:lnTo>
                <a:lnTo>
                  <a:pt x="1801494" y="2667"/>
                </a:lnTo>
                <a:lnTo>
                  <a:pt x="1753234" y="635"/>
                </a:lnTo>
                <a:lnTo>
                  <a:pt x="1704720" y="0"/>
                </a:lnTo>
                <a:close/>
                <a:moveTo>
                  <a:pt x="-3333750" y="5038725"/>
                </a:moveTo>
              </a:path>
            </a:pathLst>
          </a:custGeom>
          <a:solidFill>
            <a:srgbClr val="7DACE1">
              <a:alpha val="6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507" name="Picture 507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181975" y="1819275"/>
            <a:ext cx="3409950" cy="3409950"/>
          </a:xfrm>
          <a:prstGeom prst="rect">
            <a:avLst/>
          </a:prstGeom>
          <a:noFill/>
        </p:spPr>
      </p:pic>
      <p:sp>
        <p:nvSpPr>
          <p:cNvPr id="508" name="Freeform 508"/>
          <p:cNvSpPr/>
          <p:nvPr/>
        </p:nvSpPr>
        <p:spPr>
          <a:xfrm>
            <a:off x="1238250" y="4143375"/>
            <a:ext cx="152146" cy="56770"/>
          </a:xfrm>
          <a:custGeom>
            <a:avLst/>
            <a:gdLst/>
            <a:ahLst/>
            <a:cxnLst/>
            <a:rect l="0" t="0" r="0" b="0"/>
            <a:pathLst>
              <a:path w="152146" h="56770">
                <a:moveTo>
                  <a:pt x="123697" y="0"/>
                </a:moveTo>
                <a:lnTo>
                  <a:pt x="28409" y="0"/>
                </a:lnTo>
                <a:lnTo>
                  <a:pt x="7099" y="8890"/>
                </a:lnTo>
                <a:lnTo>
                  <a:pt x="0" y="28449"/>
                </a:lnTo>
                <a:lnTo>
                  <a:pt x="7099" y="47880"/>
                </a:lnTo>
                <a:lnTo>
                  <a:pt x="28409" y="56770"/>
                </a:lnTo>
                <a:lnTo>
                  <a:pt x="123697" y="56770"/>
                </a:lnTo>
                <a:lnTo>
                  <a:pt x="145033" y="47880"/>
                </a:lnTo>
                <a:lnTo>
                  <a:pt x="152146" y="28449"/>
                </a:lnTo>
                <a:lnTo>
                  <a:pt x="145033" y="8890"/>
                </a:lnTo>
                <a:lnTo>
                  <a:pt x="123697" y="0"/>
                </a:lnTo>
                <a:close/>
                <a:moveTo>
                  <a:pt x="1476375" y="2714625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09" name="Freeform 509"/>
          <p:cNvSpPr/>
          <p:nvPr/>
        </p:nvSpPr>
        <p:spPr>
          <a:xfrm>
            <a:off x="1238250" y="4416878"/>
            <a:ext cx="152146" cy="56770"/>
          </a:xfrm>
          <a:custGeom>
            <a:avLst/>
            <a:gdLst/>
            <a:ahLst/>
            <a:cxnLst/>
            <a:rect l="0" t="0" r="0" b="0"/>
            <a:pathLst>
              <a:path w="152146" h="56770">
                <a:moveTo>
                  <a:pt x="123697" y="0"/>
                </a:moveTo>
                <a:lnTo>
                  <a:pt x="28409" y="0"/>
                </a:lnTo>
                <a:lnTo>
                  <a:pt x="7099" y="8890"/>
                </a:lnTo>
                <a:lnTo>
                  <a:pt x="0" y="28449"/>
                </a:lnTo>
                <a:lnTo>
                  <a:pt x="7099" y="47880"/>
                </a:lnTo>
                <a:lnTo>
                  <a:pt x="28409" y="56770"/>
                </a:lnTo>
                <a:lnTo>
                  <a:pt x="123697" y="56770"/>
                </a:lnTo>
                <a:lnTo>
                  <a:pt x="145033" y="47880"/>
                </a:lnTo>
                <a:lnTo>
                  <a:pt x="152146" y="28449"/>
                </a:lnTo>
                <a:lnTo>
                  <a:pt x="145033" y="8890"/>
                </a:lnTo>
                <a:lnTo>
                  <a:pt x="123697" y="0"/>
                </a:lnTo>
                <a:close/>
                <a:moveTo>
                  <a:pt x="1181100" y="2419350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10" name="Freeform 510"/>
          <p:cNvSpPr/>
          <p:nvPr/>
        </p:nvSpPr>
        <p:spPr>
          <a:xfrm>
            <a:off x="1238250" y="4674053"/>
            <a:ext cx="152146" cy="56770"/>
          </a:xfrm>
          <a:custGeom>
            <a:avLst/>
            <a:gdLst/>
            <a:ahLst/>
            <a:cxnLst/>
            <a:rect l="0" t="0" r="0" b="0"/>
            <a:pathLst>
              <a:path w="152146" h="56770">
                <a:moveTo>
                  <a:pt x="123697" y="0"/>
                </a:moveTo>
                <a:lnTo>
                  <a:pt x="28409" y="0"/>
                </a:lnTo>
                <a:lnTo>
                  <a:pt x="7099" y="8890"/>
                </a:lnTo>
                <a:lnTo>
                  <a:pt x="0" y="28449"/>
                </a:lnTo>
                <a:lnTo>
                  <a:pt x="7099" y="47880"/>
                </a:lnTo>
                <a:lnTo>
                  <a:pt x="28409" y="56770"/>
                </a:lnTo>
                <a:lnTo>
                  <a:pt x="123697" y="56770"/>
                </a:lnTo>
                <a:lnTo>
                  <a:pt x="145033" y="47880"/>
                </a:lnTo>
                <a:lnTo>
                  <a:pt x="152146" y="28449"/>
                </a:lnTo>
                <a:lnTo>
                  <a:pt x="145033" y="8890"/>
                </a:lnTo>
                <a:lnTo>
                  <a:pt x="123697" y="0"/>
                </a:lnTo>
                <a:close/>
                <a:moveTo>
                  <a:pt x="923925" y="2162175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11" name="Freeform 511"/>
          <p:cNvSpPr/>
          <p:nvPr/>
        </p:nvSpPr>
        <p:spPr>
          <a:xfrm>
            <a:off x="869226" y="2160905"/>
            <a:ext cx="35052" cy="277242"/>
          </a:xfrm>
          <a:custGeom>
            <a:avLst/>
            <a:gdLst/>
            <a:ahLst/>
            <a:cxnLst/>
            <a:rect l="0" t="0" r="0" b="0"/>
            <a:pathLst>
              <a:path w="35052" h="277242">
                <a:moveTo>
                  <a:pt x="4610" y="0"/>
                </a:moveTo>
                <a:lnTo>
                  <a:pt x="0" y="5716"/>
                </a:lnTo>
                <a:lnTo>
                  <a:pt x="1155" y="42673"/>
                </a:lnTo>
                <a:lnTo>
                  <a:pt x="6604" y="208661"/>
                </a:lnTo>
                <a:lnTo>
                  <a:pt x="8343" y="264034"/>
                </a:lnTo>
                <a:lnTo>
                  <a:pt x="12827" y="273940"/>
                </a:lnTo>
                <a:lnTo>
                  <a:pt x="22110" y="277242"/>
                </a:lnTo>
                <a:lnTo>
                  <a:pt x="31191" y="273940"/>
                </a:lnTo>
                <a:lnTo>
                  <a:pt x="35052" y="264034"/>
                </a:lnTo>
                <a:lnTo>
                  <a:pt x="33324" y="208661"/>
                </a:lnTo>
                <a:lnTo>
                  <a:pt x="27774" y="39498"/>
                </a:lnTo>
                <a:lnTo>
                  <a:pt x="26568" y="1017"/>
                </a:lnTo>
                <a:lnTo>
                  <a:pt x="12788" y="1017"/>
                </a:lnTo>
                <a:lnTo>
                  <a:pt x="8343" y="381"/>
                </a:lnTo>
                <a:lnTo>
                  <a:pt x="4610" y="0"/>
                </a:lnTo>
                <a:close/>
                <a:moveTo>
                  <a:pt x="3827869" y="4697095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12" name="Freeform 512"/>
          <p:cNvSpPr/>
          <p:nvPr/>
        </p:nvSpPr>
        <p:spPr>
          <a:xfrm>
            <a:off x="733425" y="2133600"/>
            <a:ext cx="161950" cy="177420"/>
          </a:xfrm>
          <a:custGeom>
            <a:avLst/>
            <a:gdLst/>
            <a:ahLst/>
            <a:cxnLst/>
            <a:rect l="0" t="0" r="0" b="0"/>
            <a:pathLst>
              <a:path w="161950" h="177420">
                <a:moveTo>
                  <a:pt x="141350" y="0"/>
                </a:moveTo>
                <a:lnTo>
                  <a:pt x="129590" y="0"/>
                </a:lnTo>
                <a:lnTo>
                  <a:pt x="126885" y="2286"/>
                </a:lnTo>
                <a:lnTo>
                  <a:pt x="121754" y="6859"/>
                </a:lnTo>
                <a:lnTo>
                  <a:pt x="117144" y="12320"/>
                </a:lnTo>
                <a:lnTo>
                  <a:pt x="112953" y="18289"/>
                </a:lnTo>
                <a:lnTo>
                  <a:pt x="109067" y="23749"/>
                </a:lnTo>
                <a:lnTo>
                  <a:pt x="91808" y="45466"/>
                </a:lnTo>
                <a:lnTo>
                  <a:pt x="83235" y="56135"/>
                </a:lnTo>
                <a:lnTo>
                  <a:pt x="74561" y="66803"/>
                </a:lnTo>
                <a:lnTo>
                  <a:pt x="56921" y="88773"/>
                </a:lnTo>
                <a:lnTo>
                  <a:pt x="39141" y="110491"/>
                </a:lnTo>
                <a:lnTo>
                  <a:pt x="3301" y="153924"/>
                </a:lnTo>
                <a:lnTo>
                  <a:pt x="0" y="164211"/>
                </a:lnTo>
                <a:lnTo>
                  <a:pt x="4419" y="173229"/>
                </a:lnTo>
                <a:lnTo>
                  <a:pt x="13017" y="177420"/>
                </a:lnTo>
                <a:lnTo>
                  <a:pt x="22237" y="173102"/>
                </a:lnTo>
                <a:lnTo>
                  <a:pt x="53022" y="135636"/>
                </a:lnTo>
                <a:lnTo>
                  <a:pt x="83604" y="98045"/>
                </a:lnTo>
                <a:lnTo>
                  <a:pt x="113969" y="60325"/>
                </a:lnTo>
                <a:lnTo>
                  <a:pt x="135801" y="33021"/>
                </a:lnTo>
                <a:lnTo>
                  <a:pt x="135610" y="26671"/>
                </a:lnTo>
                <a:lnTo>
                  <a:pt x="134670" y="26543"/>
                </a:lnTo>
                <a:lnTo>
                  <a:pt x="135585" y="26162"/>
                </a:lnTo>
                <a:lnTo>
                  <a:pt x="135229" y="14733"/>
                </a:lnTo>
                <a:lnTo>
                  <a:pt x="161950" y="14733"/>
                </a:lnTo>
                <a:lnTo>
                  <a:pt x="161391" y="6223"/>
                </a:lnTo>
                <a:lnTo>
                  <a:pt x="155828" y="1652"/>
                </a:lnTo>
                <a:lnTo>
                  <a:pt x="148589" y="1143"/>
                </a:lnTo>
                <a:lnTo>
                  <a:pt x="141350" y="0"/>
                </a:lnTo>
                <a:close/>
                <a:moveTo>
                  <a:pt x="3990975" y="4724400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13" name="Freeform 513"/>
          <p:cNvSpPr/>
          <p:nvPr/>
        </p:nvSpPr>
        <p:spPr>
          <a:xfrm>
            <a:off x="869035" y="2160271"/>
            <a:ext cx="4801" cy="6350"/>
          </a:xfrm>
          <a:custGeom>
            <a:avLst/>
            <a:gdLst/>
            <a:ahLst/>
            <a:cxnLst/>
            <a:rect l="0" t="0" r="0" b="0"/>
            <a:pathLst>
              <a:path w="4801" h="6350">
                <a:moveTo>
                  <a:pt x="0" y="0"/>
                </a:moveTo>
                <a:lnTo>
                  <a:pt x="191" y="6350"/>
                </a:lnTo>
                <a:lnTo>
                  <a:pt x="4801" y="634"/>
                </a:lnTo>
                <a:lnTo>
                  <a:pt x="3518" y="508"/>
                </a:lnTo>
                <a:lnTo>
                  <a:pt x="0" y="0"/>
                </a:lnTo>
                <a:close/>
                <a:moveTo>
                  <a:pt x="3828694" y="4697729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14" name="Freeform 514"/>
          <p:cNvSpPr/>
          <p:nvPr/>
        </p:nvSpPr>
        <p:spPr>
          <a:xfrm>
            <a:off x="873836" y="2156841"/>
            <a:ext cx="8178" cy="5081"/>
          </a:xfrm>
          <a:custGeom>
            <a:avLst/>
            <a:gdLst/>
            <a:ahLst/>
            <a:cxnLst/>
            <a:rect l="0" t="0" r="0" b="0"/>
            <a:pathLst>
              <a:path w="8178" h="5081">
                <a:moveTo>
                  <a:pt x="3225" y="0"/>
                </a:moveTo>
                <a:lnTo>
                  <a:pt x="0" y="4064"/>
                </a:lnTo>
                <a:lnTo>
                  <a:pt x="3733" y="4445"/>
                </a:lnTo>
                <a:lnTo>
                  <a:pt x="8178" y="5081"/>
                </a:lnTo>
                <a:lnTo>
                  <a:pt x="3225" y="0"/>
                </a:lnTo>
                <a:close/>
                <a:moveTo>
                  <a:pt x="3827323" y="4701159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15" name="Freeform 515"/>
          <p:cNvSpPr/>
          <p:nvPr/>
        </p:nvSpPr>
        <p:spPr>
          <a:xfrm>
            <a:off x="877061" y="2156206"/>
            <a:ext cx="18733" cy="5716"/>
          </a:xfrm>
          <a:custGeom>
            <a:avLst/>
            <a:gdLst/>
            <a:ahLst/>
            <a:cxnLst/>
            <a:rect l="0" t="0" r="0" b="0"/>
            <a:pathLst>
              <a:path w="18733" h="5716">
                <a:moveTo>
                  <a:pt x="18568" y="0"/>
                </a:moveTo>
                <a:lnTo>
                  <a:pt x="508" y="0"/>
                </a:lnTo>
                <a:lnTo>
                  <a:pt x="0" y="635"/>
                </a:lnTo>
                <a:lnTo>
                  <a:pt x="4953" y="5716"/>
                </a:lnTo>
                <a:lnTo>
                  <a:pt x="18733" y="5716"/>
                </a:lnTo>
                <a:lnTo>
                  <a:pt x="18568" y="0"/>
                </a:lnTo>
                <a:close/>
                <a:moveTo>
                  <a:pt x="3824733" y="4701794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16" name="Freeform 516"/>
          <p:cNvSpPr/>
          <p:nvPr/>
        </p:nvSpPr>
        <p:spPr>
          <a:xfrm>
            <a:off x="869010" y="2156587"/>
            <a:ext cx="8051" cy="4318"/>
          </a:xfrm>
          <a:custGeom>
            <a:avLst/>
            <a:gdLst/>
            <a:ahLst/>
            <a:cxnLst/>
            <a:rect l="0" t="0" r="0" b="0"/>
            <a:pathLst>
              <a:path w="8051" h="4318">
                <a:moveTo>
                  <a:pt x="7759" y="0"/>
                </a:moveTo>
                <a:lnTo>
                  <a:pt x="5765" y="762"/>
                </a:lnTo>
                <a:lnTo>
                  <a:pt x="2425" y="1905"/>
                </a:lnTo>
                <a:lnTo>
                  <a:pt x="0" y="3175"/>
                </a:lnTo>
                <a:lnTo>
                  <a:pt x="25" y="3684"/>
                </a:lnTo>
                <a:lnTo>
                  <a:pt x="3543" y="4192"/>
                </a:lnTo>
                <a:lnTo>
                  <a:pt x="4826" y="4318"/>
                </a:lnTo>
                <a:lnTo>
                  <a:pt x="8051" y="254"/>
                </a:lnTo>
                <a:lnTo>
                  <a:pt x="7759" y="0"/>
                </a:lnTo>
                <a:close/>
                <a:moveTo>
                  <a:pt x="3832403" y="4701413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17" name="Freeform 517"/>
          <p:cNvSpPr/>
          <p:nvPr/>
        </p:nvSpPr>
        <p:spPr>
          <a:xfrm>
            <a:off x="868095" y="2159762"/>
            <a:ext cx="940" cy="509"/>
          </a:xfrm>
          <a:custGeom>
            <a:avLst/>
            <a:gdLst/>
            <a:ahLst/>
            <a:cxnLst/>
            <a:rect l="0" t="0" r="0" b="0"/>
            <a:pathLst>
              <a:path w="940" h="509">
                <a:moveTo>
                  <a:pt x="915" y="0"/>
                </a:moveTo>
                <a:lnTo>
                  <a:pt x="0" y="381"/>
                </a:lnTo>
                <a:lnTo>
                  <a:pt x="940" y="509"/>
                </a:lnTo>
                <a:lnTo>
                  <a:pt x="915" y="0"/>
                </a:lnTo>
                <a:close/>
                <a:moveTo>
                  <a:pt x="3830143" y="4698238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18" name="Freeform 518"/>
          <p:cNvSpPr/>
          <p:nvPr/>
        </p:nvSpPr>
        <p:spPr>
          <a:xfrm>
            <a:off x="868654" y="2148333"/>
            <a:ext cx="8115" cy="11429"/>
          </a:xfrm>
          <a:custGeom>
            <a:avLst/>
            <a:gdLst/>
            <a:ahLst/>
            <a:cxnLst/>
            <a:rect l="0" t="0" r="0" b="0"/>
            <a:pathLst>
              <a:path w="8115" h="11429">
                <a:moveTo>
                  <a:pt x="0" y="0"/>
                </a:moveTo>
                <a:lnTo>
                  <a:pt x="356" y="11429"/>
                </a:lnTo>
                <a:lnTo>
                  <a:pt x="2781" y="10159"/>
                </a:lnTo>
                <a:lnTo>
                  <a:pt x="6121" y="9016"/>
                </a:lnTo>
                <a:lnTo>
                  <a:pt x="8115" y="8254"/>
                </a:lnTo>
                <a:lnTo>
                  <a:pt x="0" y="0"/>
                </a:lnTo>
                <a:close/>
                <a:moveTo>
                  <a:pt x="3841013" y="4709667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19" name="Freeform 519"/>
          <p:cNvSpPr/>
          <p:nvPr/>
        </p:nvSpPr>
        <p:spPr>
          <a:xfrm>
            <a:off x="876769" y="2156206"/>
            <a:ext cx="800" cy="635"/>
          </a:xfrm>
          <a:custGeom>
            <a:avLst/>
            <a:gdLst/>
            <a:ahLst/>
            <a:cxnLst/>
            <a:rect l="0" t="0" r="0" b="0"/>
            <a:pathLst>
              <a:path w="800" h="635">
                <a:moveTo>
                  <a:pt x="800" y="0"/>
                </a:moveTo>
                <a:lnTo>
                  <a:pt x="0" y="381"/>
                </a:lnTo>
                <a:lnTo>
                  <a:pt x="292" y="635"/>
                </a:lnTo>
                <a:lnTo>
                  <a:pt x="800" y="0"/>
                </a:lnTo>
                <a:close/>
                <a:moveTo>
                  <a:pt x="3825025" y="4701794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20" name="Freeform 520"/>
          <p:cNvSpPr/>
          <p:nvPr/>
        </p:nvSpPr>
        <p:spPr>
          <a:xfrm>
            <a:off x="868654" y="2148333"/>
            <a:ext cx="26975" cy="8254"/>
          </a:xfrm>
          <a:custGeom>
            <a:avLst/>
            <a:gdLst/>
            <a:ahLst/>
            <a:cxnLst/>
            <a:rect l="0" t="0" r="0" b="0"/>
            <a:pathLst>
              <a:path w="26975" h="8254">
                <a:moveTo>
                  <a:pt x="26721" y="0"/>
                </a:moveTo>
                <a:lnTo>
                  <a:pt x="0" y="0"/>
                </a:lnTo>
                <a:lnTo>
                  <a:pt x="8115" y="8254"/>
                </a:lnTo>
                <a:lnTo>
                  <a:pt x="8915" y="7873"/>
                </a:lnTo>
                <a:lnTo>
                  <a:pt x="26975" y="7873"/>
                </a:lnTo>
                <a:lnTo>
                  <a:pt x="26721" y="0"/>
                </a:lnTo>
                <a:close/>
                <a:moveTo>
                  <a:pt x="3841013" y="4709667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21" name="Freeform 521"/>
          <p:cNvSpPr/>
          <p:nvPr/>
        </p:nvSpPr>
        <p:spPr>
          <a:xfrm>
            <a:off x="777671" y="2874137"/>
            <a:ext cx="183718" cy="268860"/>
          </a:xfrm>
          <a:custGeom>
            <a:avLst/>
            <a:gdLst/>
            <a:ahLst/>
            <a:cxnLst/>
            <a:rect l="0" t="0" r="0" b="0"/>
            <a:pathLst>
              <a:path w="183718" h="268860">
                <a:moveTo>
                  <a:pt x="124333" y="0"/>
                </a:moveTo>
                <a:lnTo>
                  <a:pt x="62751" y="0"/>
                </a:lnTo>
                <a:lnTo>
                  <a:pt x="87630" y="3048"/>
                </a:lnTo>
                <a:lnTo>
                  <a:pt x="105550" y="18416"/>
                </a:lnTo>
                <a:lnTo>
                  <a:pt x="111329" y="40767"/>
                </a:lnTo>
                <a:lnTo>
                  <a:pt x="107595" y="63247"/>
                </a:lnTo>
                <a:lnTo>
                  <a:pt x="98057" y="84836"/>
                </a:lnTo>
                <a:lnTo>
                  <a:pt x="86475" y="104394"/>
                </a:lnTo>
                <a:lnTo>
                  <a:pt x="70574" y="129160"/>
                </a:lnTo>
                <a:lnTo>
                  <a:pt x="54826" y="153924"/>
                </a:lnTo>
                <a:lnTo>
                  <a:pt x="23597" y="203328"/>
                </a:lnTo>
                <a:lnTo>
                  <a:pt x="19812" y="209169"/>
                </a:lnTo>
                <a:lnTo>
                  <a:pt x="16028" y="215011"/>
                </a:lnTo>
                <a:lnTo>
                  <a:pt x="12230" y="220980"/>
                </a:lnTo>
                <a:lnTo>
                  <a:pt x="8446" y="227077"/>
                </a:lnTo>
                <a:lnTo>
                  <a:pt x="5004" y="232537"/>
                </a:lnTo>
                <a:lnTo>
                  <a:pt x="1918" y="238253"/>
                </a:lnTo>
                <a:lnTo>
                  <a:pt x="0" y="244348"/>
                </a:lnTo>
                <a:lnTo>
                  <a:pt x="89" y="250825"/>
                </a:lnTo>
                <a:lnTo>
                  <a:pt x="4496" y="260350"/>
                </a:lnTo>
                <a:lnTo>
                  <a:pt x="12586" y="265811"/>
                </a:lnTo>
                <a:lnTo>
                  <a:pt x="22683" y="268224"/>
                </a:lnTo>
                <a:lnTo>
                  <a:pt x="33147" y="268860"/>
                </a:lnTo>
                <a:lnTo>
                  <a:pt x="170663" y="264415"/>
                </a:lnTo>
                <a:lnTo>
                  <a:pt x="180455" y="260097"/>
                </a:lnTo>
                <a:lnTo>
                  <a:pt x="183718" y="250825"/>
                </a:lnTo>
                <a:lnTo>
                  <a:pt x="181877" y="245746"/>
                </a:lnTo>
                <a:lnTo>
                  <a:pt x="28093" y="245746"/>
                </a:lnTo>
                <a:lnTo>
                  <a:pt x="23597" y="242952"/>
                </a:lnTo>
                <a:lnTo>
                  <a:pt x="22479" y="241935"/>
                </a:lnTo>
                <a:lnTo>
                  <a:pt x="31293" y="241935"/>
                </a:lnTo>
                <a:lnTo>
                  <a:pt x="34265" y="236348"/>
                </a:lnTo>
                <a:lnTo>
                  <a:pt x="34824" y="234697"/>
                </a:lnTo>
                <a:lnTo>
                  <a:pt x="41567" y="224917"/>
                </a:lnTo>
                <a:lnTo>
                  <a:pt x="44374" y="219837"/>
                </a:lnTo>
                <a:lnTo>
                  <a:pt x="52451" y="207137"/>
                </a:lnTo>
                <a:lnTo>
                  <a:pt x="68847" y="181484"/>
                </a:lnTo>
                <a:lnTo>
                  <a:pt x="76924" y="168784"/>
                </a:lnTo>
                <a:lnTo>
                  <a:pt x="108433" y="121159"/>
                </a:lnTo>
                <a:lnTo>
                  <a:pt x="133617" y="70740"/>
                </a:lnTo>
                <a:lnTo>
                  <a:pt x="137922" y="49277"/>
                </a:lnTo>
                <a:lnTo>
                  <a:pt x="136843" y="27179"/>
                </a:lnTo>
                <a:lnTo>
                  <a:pt x="129667" y="6478"/>
                </a:lnTo>
                <a:lnTo>
                  <a:pt x="124333" y="0"/>
                </a:lnTo>
                <a:close/>
                <a:moveTo>
                  <a:pt x="3206192" y="3983863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22" name="Freeform 522"/>
          <p:cNvSpPr/>
          <p:nvPr/>
        </p:nvSpPr>
        <p:spPr>
          <a:xfrm>
            <a:off x="800150" y="3116072"/>
            <a:ext cx="8522" cy="3811"/>
          </a:xfrm>
          <a:custGeom>
            <a:avLst/>
            <a:gdLst/>
            <a:ahLst/>
            <a:cxnLst/>
            <a:rect l="0" t="0" r="0" b="0"/>
            <a:pathLst>
              <a:path w="8522" h="3811">
                <a:moveTo>
                  <a:pt x="0" y="0"/>
                </a:moveTo>
                <a:lnTo>
                  <a:pt x="1118" y="1017"/>
                </a:lnTo>
                <a:lnTo>
                  <a:pt x="5614" y="3811"/>
                </a:lnTo>
                <a:lnTo>
                  <a:pt x="6731" y="3811"/>
                </a:lnTo>
                <a:lnTo>
                  <a:pt x="8522" y="508"/>
                </a:lnTo>
                <a:lnTo>
                  <a:pt x="2807" y="508"/>
                </a:lnTo>
                <a:lnTo>
                  <a:pt x="0" y="0"/>
                </a:lnTo>
                <a:close/>
                <a:moveTo>
                  <a:pt x="2941778" y="3741928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23" name="Freeform 523"/>
          <p:cNvSpPr/>
          <p:nvPr/>
        </p:nvSpPr>
        <p:spPr>
          <a:xfrm>
            <a:off x="806881" y="3112135"/>
            <a:ext cx="152667" cy="7748"/>
          </a:xfrm>
          <a:custGeom>
            <a:avLst/>
            <a:gdLst/>
            <a:ahLst/>
            <a:cxnLst/>
            <a:rect l="0" t="0" r="0" b="0"/>
            <a:pathLst>
              <a:path w="152667" h="7748">
                <a:moveTo>
                  <a:pt x="141453" y="0"/>
                </a:moveTo>
                <a:lnTo>
                  <a:pt x="17412" y="3937"/>
                </a:lnTo>
                <a:lnTo>
                  <a:pt x="12357" y="3937"/>
                </a:lnTo>
                <a:lnTo>
                  <a:pt x="7303" y="4445"/>
                </a:lnTo>
                <a:lnTo>
                  <a:pt x="1791" y="4445"/>
                </a:lnTo>
                <a:lnTo>
                  <a:pt x="0" y="7748"/>
                </a:lnTo>
                <a:lnTo>
                  <a:pt x="152667" y="7748"/>
                </a:lnTo>
                <a:lnTo>
                  <a:pt x="151245" y="3937"/>
                </a:lnTo>
                <a:lnTo>
                  <a:pt x="141453" y="0"/>
                </a:lnTo>
                <a:close/>
                <a:moveTo>
                  <a:pt x="2938984" y="3745865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24" name="Freeform 524"/>
          <p:cNvSpPr/>
          <p:nvPr/>
        </p:nvSpPr>
        <p:spPr>
          <a:xfrm>
            <a:off x="800150" y="3116072"/>
            <a:ext cx="4496" cy="508"/>
          </a:xfrm>
          <a:custGeom>
            <a:avLst/>
            <a:gdLst/>
            <a:ahLst/>
            <a:cxnLst/>
            <a:rect l="0" t="0" r="0" b="0"/>
            <a:pathLst>
              <a:path w="4496" h="508">
                <a:moveTo>
                  <a:pt x="4496" y="0"/>
                </a:moveTo>
                <a:lnTo>
                  <a:pt x="0" y="0"/>
                </a:lnTo>
                <a:lnTo>
                  <a:pt x="2807" y="508"/>
                </a:lnTo>
                <a:lnTo>
                  <a:pt x="3925" y="508"/>
                </a:lnTo>
                <a:lnTo>
                  <a:pt x="4496" y="0"/>
                </a:lnTo>
                <a:close/>
                <a:moveTo>
                  <a:pt x="2941778" y="3741928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25" name="Freeform 525"/>
          <p:cNvSpPr/>
          <p:nvPr/>
        </p:nvSpPr>
        <p:spPr>
          <a:xfrm>
            <a:off x="804075" y="3116072"/>
            <a:ext cx="3937" cy="508"/>
          </a:xfrm>
          <a:custGeom>
            <a:avLst/>
            <a:gdLst/>
            <a:ahLst/>
            <a:cxnLst/>
            <a:rect l="0" t="0" r="0" b="0"/>
            <a:pathLst>
              <a:path w="3937" h="508">
                <a:moveTo>
                  <a:pt x="571" y="0"/>
                </a:moveTo>
                <a:lnTo>
                  <a:pt x="0" y="508"/>
                </a:lnTo>
                <a:lnTo>
                  <a:pt x="3937" y="508"/>
                </a:lnTo>
                <a:lnTo>
                  <a:pt x="571" y="0"/>
                </a:lnTo>
                <a:close/>
                <a:moveTo>
                  <a:pt x="2937853" y="3741928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26" name="Freeform 526"/>
          <p:cNvSpPr/>
          <p:nvPr/>
        </p:nvSpPr>
        <p:spPr>
          <a:xfrm>
            <a:off x="804646" y="3116072"/>
            <a:ext cx="4318" cy="508"/>
          </a:xfrm>
          <a:custGeom>
            <a:avLst/>
            <a:gdLst/>
            <a:ahLst/>
            <a:cxnLst/>
            <a:rect l="0" t="0" r="0" b="0"/>
            <a:pathLst>
              <a:path w="4318" h="508">
                <a:moveTo>
                  <a:pt x="4318" y="0"/>
                </a:moveTo>
                <a:lnTo>
                  <a:pt x="0" y="0"/>
                </a:lnTo>
                <a:lnTo>
                  <a:pt x="3366" y="508"/>
                </a:lnTo>
                <a:lnTo>
                  <a:pt x="4026" y="508"/>
                </a:lnTo>
                <a:lnTo>
                  <a:pt x="4318" y="0"/>
                </a:lnTo>
                <a:close/>
                <a:moveTo>
                  <a:pt x="2937282" y="3741928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27" name="Freeform 527"/>
          <p:cNvSpPr/>
          <p:nvPr/>
        </p:nvSpPr>
        <p:spPr>
          <a:xfrm>
            <a:off x="771525" y="2847975"/>
            <a:ext cx="130479" cy="41022"/>
          </a:xfrm>
          <a:custGeom>
            <a:avLst/>
            <a:gdLst/>
            <a:ahLst/>
            <a:cxnLst/>
            <a:rect l="0" t="0" r="0" b="0"/>
            <a:pathLst>
              <a:path w="130479" h="41022">
                <a:moveTo>
                  <a:pt x="64897" y="0"/>
                </a:moveTo>
                <a:lnTo>
                  <a:pt x="34112" y="6097"/>
                </a:lnTo>
                <a:lnTo>
                  <a:pt x="6730" y="17146"/>
                </a:lnTo>
                <a:lnTo>
                  <a:pt x="0" y="25020"/>
                </a:lnTo>
                <a:lnTo>
                  <a:pt x="1689" y="34417"/>
                </a:lnTo>
                <a:lnTo>
                  <a:pt x="9258" y="41022"/>
                </a:lnTo>
                <a:lnTo>
                  <a:pt x="20205" y="40260"/>
                </a:lnTo>
                <a:lnTo>
                  <a:pt x="42557" y="31242"/>
                </a:lnTo>
                <a:lnTo>
                  <a:pt x="68897" y="26162"/>
                </a:lnTo>
                <a:lnTo>
                  <a:pt x="130479" y="26162"/>
                </a:lnTo>
                <a:lnTo>
                  <a:pt x="121805" y="15495"/>
                </a:lnTo>
                <a:lnTo>
                  <a:pt x="95377" y="2033"/>
                </a:lnTo>
                <a:lnTo>
                  <a:pt x="64897" y="0"/>
                </a:lnTo>
                <a:close/>
                <a:moveTo>
                  <a:pt x="3238500" y="4010025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28" name="Freeform 528"/>
          <p:cNvSpPr/>
          <p:nvPr/>
        </p:nvSpPr>
        <p:spPr>
          <a:xfrm>
            <a:off x="781050" y="3994277"/>
            <a:ext cx="183045" cy="62866"/>
          </a:xfrm>
          <a:custGeom>
            <a:avLst/>
            <a:gdLst/>
            <a:ahLst/>
            <a:cxnLst/>
            <a:rect l="0" t="0" r="0" b="0"/>
            <a:pathLst>
              <a:path w="183045" h="62866">
                <a:moveTo>
                  <a:pt x="13169" y="0"/>
                </a:moveTo>
                <a:lnTo>
                  <a:pt x="4470" y="4191"/>
                </a:lnTo>
                <a:lnTo>
                  <a:pt x="0" y="13463"/>
                </a:lnTo>
                <a:lnTo>
                  <a:pt x="3340" y="24257"/>
                </a:lnTo>
                <a:lnTo>
                  <a:pt x="33451" y="49022"/>
                </a:lnTo>
                <a:lnTo>
                  <a:pt x="69799" y="61469"/>
                </a:lnTo>
                <a:lnTo>
                  <a:pt x="108673" y="62866"/>
                </a:lnTo>
                <a:lnTo>
                  <a:pt x="146380" y="54738"/>
                </a:lnTo>
                <a:lnTo>
                  <a:pt x="165861" y="46737"/>
                </a:lnTo>
                <a:lnTo>
                  <a:pt x="183045" y="36069"/>
                </a:lnTo>
                <a:lnTo>
                  <a:pt x="87185" y="36069"/>
                </a:lnTo>
                <a:lnTo>
                  <a:pt x="51688" y="27178"/>
                </a:lnTo>
                <a:lnTo>
                  <a:pt x="22491" y="4700"/>
                </a:lnTo>
                <a:lnTo>
                  <a:pt x="13169" y="0"/>
                </a:lnTo>
                <a:close/>
                <a:moveTo>
                  <a:pt x="2082673" y="2863723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29" name="Freeform 529"/>
          <p:cNvSpPr/>
          <p:nvPr/>
        </p:nvSpPr>
        <p:spPr>
          <a:xfrm>
            <a:off x="868235" y="3914268"/>
            <a:ext cx="121768" cy="116078"/>
          </a:xfrm>
          <a:custGeom>
            <a:avLst/>
            <a:gdLst/>
            <a:ahLst/>
            <a:cxnLst/>
            <a:rect l="0" t="0" r="0" b="0"/>
            <a:pathLst>
              <a:path w="121768" h="116078">
                <a:moveTo>
                  <a:pt x="94983" y="0"/>
                </a:moveTo>
                <a:lnTo>
                  <a:pt x="31306" y="0"/>
                </a:lnTo>
                <a:lnTo>
                  <a:pt x="51308" y="3682"/>
                </a:lnTo>
                <a:lnTo>
                  <a:pt x="69215" y="13334"/>
                </a:lnTo>
                <a:lnTo>
                  <a:pt x="92215" y="47625"/>
                </a:lnTo>
                <a:lnTo>
                  <a:pt x="94678" y="68072"/>
                </a:lnTo>
                <a:lnTo>
                  <a:pt x="92253" y="78359"/>
                </a:lnTo>
                <a:lnTo>
                  <a:pt x="37071" y="113030"/>
                </a:lnTo>
                <a:lnTo>
                  <a:pt x="0" y="116078"/>
                </a:lnTo>
                <a:lnTo>
                  <a:pt x="95860" y="116078"/>
                </a:lnTo>
                <a:lnTo>
                  <a:pt x="96787" y="115569"/>
                </a:lnTo>
                <a:lnTo>
                  <a:pt x="111303" y="100584"/>
                </a:lnTo>
                <a:lnTo>
                  <a:pt x="120015" y="81280"/>
                </a:lnTo>
                <a:lnTo>
                  <a:pt x="121768" y="59435"/>
                </a:lnTo>
                <a:lnTo>
                  <a:pt x="117551" y="37718"/>
                </a:lnTo>
                <a:lnTo>
                  <a:pt x="108382" y="17525"/>
                </a:lnTo>
                <a:lnTo>
                  <a:pt x="95237" y="253"/>
                </a:lnTo>
                <a:lnTo>
                  <a:pt x="94983" y="0"/>
                </a:lnTo>
                <a:close/>
                <a:moveTo>
                  <a:pt x="2075497" y="294373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30" name="Freeform 530"/>
          <p:cNvSpPr/>
          <p:nvPr/>
        </p:nvSpPr>
        <p:spPr>
          <a:xfrm>
            <a:off x="861974" y="3780155"/>
            <a:ext cx="104064" cy="136653"/>
          </a:xfrm>
          <a:custGeom>
            <a:avLst/>
            <a:gdLst/>
            <a:ahLst/>
            <a:cxnLst/>
            <a:rect l="0" t="0" r="0" b="0"/>
            <a:pathLst>
              <a:path w="104064" h="136653">
                <a:moveTo>
                  <a:pt x="81788" y="0"/>
                </a:moveTo>
                <a:lnTo>
                  <a:pt x="22022" y="0"/>
                </a:lnTo>
                <a:lnTo>
                  <a:pt x="47269" y="6097"/>
                </a:lnTo>
                <a:lnTo>
                  <a:pt x="67716" y="24003"/>
                </a:lnTo>
                <a:lnTo>
                  <a:pt x="71272" y="29465"/>
                </a:lnTo>
                <a:lnTo>
                  <a:pt x="74257" y="35434"/>
                </a:lnTo>
                <a:lnTo>
                  <a:pt x="76505" y="41910"/>
                </a:lnTo>
                <a:lnTo>
                  <a:pt x="77851" y="48641"/>
                </a:lnTo>
                <a:lnTo>
                  <a:pt x="77406" y="56643"/>
                </a:lnTo>
                <a:lnTo>
                  <a:pt x="51308" y="85218"/>
                </a:lnTo>
                <a:lnTo>
                  <a:pt x="6325" y="111379"/>
                </a:lnTo>
                <a:lnTo>
                  <a:pt x="0" y="118745"/>
                </a:lnTo>
                <a:lnTo>
                  <a:pt x="914" y="128144"/>
                </a:lnTo>
                <a:lnTo>
                  <a:pt x="7201" y="135382"/>
                </a:lnTo>
                <a:lnTo>
                  <a:pt x="17031" y="136653"/>
                </a:lnTo>
                <a:lnTo>
                  <a:pt x="26492" y="135510"/>
                </a:lnTo>
                <a:lnTo>
                  <a:pt x="20409" y="135510"/>
                </a:lnTo>
                <a:lnTo>
                  <a:pt x="17551" y="129032"/>
                </a:lnTo>
                <a:lnTo>
                  <a:pt x="14846" y="122682"/>
                </a:lnTo>
                <a:lnTo>
                  <a:pt x="9703" y="110237"/>
                </a:lnTo>
                <a:lnTo>
                  <a:pt x="34506" y="106681"/>
                </a:lnTo>
                <a:lnTo>
                  <a:pt x="67805" y="106681"/>
                </a:lnTo>
                <a:lnTo>
                  <a:pt x="71552" y="104013"/>
                </a:lnTo>
                <a:lnTo>
                  <a:pt x="103975" y="62612"/>
                </a:lnTo>
                <a:lnTo>
                  <a:pt x="104064" y="48641"/>
                </a:lnTo>
                <a:lnTo>
                  <a:pt x="103987" y="41910"/>
                </a:lnTo>
                <a:lnTo>
                  <a:pt x="98006" y="22353"/>
                </a:lnTo>
                <a:lnTo>
                  <a:pt x="87427" y="4445"/>
                </a:lnTo>
                <a:lnTo>
                  <a:pt x="81788" y="0"/>
                </a:lnTo>
                <a:close/>
                <a:moveTo>
                  <a:pt x="2215871" y="3077845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31" name="Freeform 531"/>
          <p:cNvSpPr/>
          <p:nvPr/>
        </p:nvSpPr>
        <p:spPr>
          <a:xfrm>
            <a:off x="871677" y="3886836"/>
            <a:ext cx="52171" cy="28829"/>
          </a:xfrm>
          <a:custGeom>
            <a:avLst/>
            <a:gdLst/>
            <a:ahLst/>
            <a:cxnLst/>
            <a:rect l="0" t="0" r="0" b="0"/>
            <a:pathLst>
              <a:path w="52171" h="28829">
                <a:moveTo>
                  <a:pt x="24803" y="0"/>
                </a:moveTo>
                <a:lnTo>
                  <a:pt x="0" y="3556"/>
                </a:lnTo>
                <a:lnTo>
                  <a:pt x="5143" y="16001"/>
                </a:lnTo>
                <a:lnTo>
                  <a:pt x="7848" y="22351"/>
                </a:lnTo>
                <a:lnTo>
                  <a:pt x="10706" y="28829"/>
                </a:lnTo>
                <a:lnTo>
                  <a:pt x="21577" y="23113"/>
                </a:lnTo>
                <a:lnTo>
                  <a:pt x="32245" y="17017"/>
                </a:lnTo>
                <a:lnTo>
                  <a:pt x="42697" y="10541"/>
                </a:lnTo>
                <a:lnTo>
                  <a:pt x="52171" y="4063"/>
                </a:lnTo>
                <a:lnTo>
                  <a:pt x="49276" y="2920"/>
                </a:lnTo>
                <a:lnTo>
                  <a:pt x="24803" y="0"/>
                </a:lnTo>
                <a:close/>
                <a:moveTo>
                  <a:pt x="2099487" y="2971164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32" name="Freeform 532"/>
          <p:cNvSpPr/>
          <p:nvPr/>
        </p:nvSpPr>
        <p:spPr>
          <a:xfrm>
            <a:off x="882383" y="3890899"/>
            <a:ext cx="80835" cy="24766"/>
          </a:xfrm>
          <a:custGeom>
            <a:avLst/>
            <a:gdLst/>
            <a:ahLst/>
            <a:cxnLst/>
            <a:rect l="0" t="0" r="0" b="0"/>
            <a:pathLst>
              <a:path w="80835" h="24766">
                <a:moveTo>
                  <a:pt x="41465" y="0"/>
                </a:moveTo>
                <a:lnTo>
                  <a:pt x="31991" y="6478"/>
                </a:lnTo>
                <a:lnTo>
                  <a:pt x="21539" y="12954"/>
                </a:lnTo>
                <a:lnTo>
                  <a:pt x="10871" y="19050"/>
                </a:lnTo>
                <a:lnTo>
                  <a:pt x="0" y="24766"/>
                </a:lnTo>
                <a:lnTo>
                  <a:pt x="6083" y="24766"/>
                </a:lnTo>
                <a:lnTo>
                  <a:pt x="17158" y="23369"/>
                </a:lnTo>
                <a:lnTo>
                  <a:pt x="80835" y="23369"/>
                </a:lnTo>
                <a:lnTo>
                  <a:pt x="61366" y="8128"/>
                </a:lnTo>
                <a:lnTo>
                  <a:pt x="41465" y="0"/>
                </a:lnTo>
                <a:close/>
                <a:moveTo>
                  <a:pt x="2084718" y="2967101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33" name="Freeform 533"/>
          <p:cNvSpPr/>
          <p:nvPr/>
        </p:nvSpPr>
        <p:spPr>
          <a:xfrm>
            <a:off x="896480" y="3886836"/>
            <a:ext cx="33299" cy="4063"/>
          </a:xfrm>
          <a:custGeom>
            <a:avLst/>
            <a:gdLst/>
            <a:ahLst/>
            <a:cxnLst/>
            <a:rect l="0" t="0" r="0" b="0"/>
            <a:pathLst>
              <a:path w="33299" h="4063">
                <a:moveTo>
                  <a:pt x="33299" y="0"/>
                </a:moveTo>
                <a:lnTo>
                  <a:pt x="0" y="0"/>
                </a:lnTo>
                <a:lnTo>
                  <a:pt x="24473" y="2920"/>
                </a:lnTo>
                <a:lnTo>
                  <a:pt x="27368" y="4063"/>
                </a:lnTo>
                <a:lnTo>
                  <a:pt x="33299" y="0"/>
                </a:lnTo>
                <a:close/>
                <a:moveTo>
                  <a:pt x="2074684" y="2971164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34" name="Freeform 534"/>
          <p:cNvSpPr/>
          <p:nvPr/>
        </p:nvSpPr>
        <p:spPr>
          <a:xfrm>
            <a:off x="812228" y="3752850"/>
            <a:ext cx="131534" cy="56261"/>
          </a:xfrm>
          <a:custGeom>
            <a:avLst/>
            <a:gdLst/>
            <a:ahLst/>
            <a:cxnLst/>
            <a:rect l="0" t="0" r="0" b="0"/>
            <a:pathLst>
              <a:path w="131534" h="56261">
                <a:moveTo>
                  <a:pt x="68745" y="0"/>
                </a:moveTo>
                <a:lnTo>
                  <a:pt x="32156" y="10033"/>
                </a:lnTo>
                <a:lnTo>
                  <a:pt x="2007" y="36323"/>
                </a:lnTo>
                <a:lnTo>
                  <a:pt x="0" y="46609"/>
                </a:lnTo>
                <a:lnTo>
                  <a:pt x="6236" y="54102"/>
                </a:lnTo>
                <a:lnTo>
                  <a:pt x="16269" y="56261"/>
                </a:lnTo>
                <a:lnTo>
                  <a:pt x="25667" y="50674"/>
                </a:lnTo>
                <a:lnTo>
                  <a:pt x="46419" y="33021"/>
                </a:lnTo>
                <a:lnTo>
                  <a:pt x="71768" y="27305"/>
                </a:lnTo>
                <a:lnTo>
                  <a:pt x="131534" y="27305"/>
                </a:lnTo>
                <a:lnTo>
                  <a:pt x="105753" y="6986"/>
                </a:lnTo>
                <a:lnTo>
                  <a:pt x="68745" y="0"/>
                </a:lnTo>
                <a:close/>
                <a:moveTo>
                  <a:pt x="2292922" y="3105150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35" name="Freeform 535"/>
          <p:cNvSpPr/>
          <p:nvPr/>
        </p:nvSpPr>
        <p:spPr>
          <a:xfrm>
            <a:off x="943000" y="5425948"/>
            <a:ext cx="37655" cy="174740"/>
          </a:xfrm>
          <a:custGeom>
            <a:avLst/>
            <a:gdLst/>
            <a:ahLst/>
            <a:cxnLst/>
            <a:rect l="0" t="0" r="0" b="0"/>
            <a:pathLst>
              <a:path w="37655" h="174740">
                <a:moveTo>
                  <a:pt x="30569" y="0"/>
                </a:moveTo>
                <a:lnTo>
                  <a:pt x="76" y="13970"/>
                </a:lnTo>
                <a:lnTo>
                  <a:pt x="0" y="22606"/>
                </a:lnTo>
                <a:lnTo>
                  <a:pt x="1016" y="68580"/>
                </a:lnTo>
                <a:lnTo>
                  <a:pt x="3442" y="114555"/>
                </a:lnTo>
                <a:lnTo>
                  <a:pt x="7290" y="160528"/>
                </a:lnTo>
                <a:lnTo>
                  <a:pt x="23736" y="174740"/>
                </a:lnTo>
                <a:lnTo>
                  <a:pt x="33858" y="171197"/>
                </a:lnTo>
                <a:lnTo>
                  <a:pt x="37655" y="160528"/>
                </a:lnTo>
                <a:lnTo>
                  <a:pt x="33807" y="114555"/>
                </a:lnTo>
                <a:lnTo>
                  <a:pt x="31382" y="68580"/>
                </a:lnTo>
                <a:lnTo>
                  <a:pt x="30366" y="22606"/>
                </a:lnTo>
                <a:lnTo>
                  <a:pt x="30569" y="0"/>
                </a:lnTo>
                <a:close/>
                <a:moveTo>
                  <a:pt x="489052" y="1432052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36" name="Freeform 536"/>
          <p:cNvSpPr/>
          <p:nvPr/>
        </p:nvSpPr>
        <p:spPr>
          <a:xfrm>
            <a:off x="819150" y="5210175"/>
            <a:ext cx="124117" cy="231014"/>
          </a:xfrm>
          <a:custGeom>
            <a:avLst/>
            <a:gdLst/>
            <a:ahLst/>
            <a:cxnLst/>
            <a:rect l="0" t="0" r="0" b="0"/>
            <a:pathLst>
              <a:path w="124117" h="231014">
                <a:moveTo>
                  <a:pt x="54787" y="0"/>
                </a:moveTo>
                <a:lnTo>
                  <a:pt x="44005" y="762"/>
                </a:lnTo>
                <a:lnTo>
                  <a:pt x="37503" y="9780"/>
                </a:lnTo>
                <a:lnTo>
                  <a:pt x="31305" y="40640"/>
                </a:lnTo>
                <a:lnTo>
                  <a:pt x="25260" y="71501"/>
                </a:lnTo>
                <a:lnTo>
                  <a:pt x="19227" y="102109"/>
                </a:lnTo>
                <a:lnTo>
                  <a:pt x="13017" y="132589"/>
                </a:lnTo>
                <a:lnTo>
                  <a:pt x="10007" y="147828"/>
                </a:lnTo>
                <a:lnTo>
                  <a:pt x="4254" y="177800"/>
                </a:lnTo>
                <a:lnTo>
                  <a:pt x="1206" y="192659"/>
                </a:lnTo>
                <a:lnTo>
                  <a:pt x="114" y="201423"/>
                </a:lnTo>
                <a:lnTo>
                  <a:pt x="0" y="204978"/>
                </a:lnTo>
                <a:lnTo>
                  <a:pt x="584" y="213487"/>
                </a:lnTo>
                <a:lnTo>
                  <a:pt x="4787" y="221997"/>
                </a:lnTo>
                <a:lnTo>
                  <a:pt x="13881" y="228092"/>
                </a:lnTo>
                <a:lnTo>
                  <a:pt x="26339" y="230759"/>
                </a:lnTo>
                <a:lnTo>
                  <a:pt x="40132" y="231014"/>
                </a:lnTo>
                <a:lnTo>
                  <a:pt x="54089" y="230251"/>
                </a:lnTo>
                <a:lnTo>
                  <a:pt x="67017" y="229743"/>
                </a:lnTo>
                <a:lnTo>
                  <a:pt x="123926" y="229743"/>
                </a:lnTo>
                <a:lnTo>
                  <a:pt x="124117" y="208281"/>
                </a:lnTo>
                <a:lnTo>
                  <a:pt x="29908" y="208281"/>
                </a:lnTo>
                <a:lnTo>
                  <a:pt x="28219" y="204978"/>
                </a:lnTo>
                <a:lnTo>
                  <a:pt x="25692" y="201676"/>
                </a:lnTo>
                <a:lnTo>
                  <a:pt x="23152" y="199264"/>
                </a:lnTo>
                <a:lnTo>
                  <a:pt x="30238" y="199264"/>
                </a:lnTo>
                <a:lnTo>
                  <a:pt x="31064" y="194818"/>
                </a:lnTo>
                <a:lnTo>
                  <a:pt x="32867" y="187834"/>
                </a:lnTo>
                <a:lnTo>
                  <a:pt x="34124" y="181864"/>
                </a:lnTo>
                <a:lnTo>
                  <a:pt x="35394" y="175261"/>
                </a:lnTo>
                <a:lnTo>
                  <a:pt x="36677" y="168784"/>
                </a:lnTo>
                <a:lnTo>
                  <a:pt x="39179" y="156337"/>
                </a:lnTo>
                <a:lnTo>
                  <a:pt x="41567" y="145289"/>
                </a:lnTo>
                <a:lnTo>
                  <a:pt x="43726" y="134239"/>
                </a:lnTo>
                <a:lnTo>
                  <a:pt x="45707" y="123317"/>
                </a:lnTo>
                <a:lnTo>
                  <a:pt x="47625" y="112776"/>
                </a:lnTo>
                <a:lnTo>
                  <a:pt x="52552" y="88773"/>
                </a:lnTo>
                <a:lnTo>
                  <a:pt x="57327" y="65025"/>
                </a:lnTo>
                <a:lnTo>
                  <a:pt x="62090" y="41529"/>
                </a:lnTo>
                <a:lnTo>
                  <a:pt x="67017" y="18034"/>
                </a:lnTo>
                <a:lnTo>
                  <a:pt x="64312" y="6224"/>
                </a:lnTo>
                <a:lnTo>
                  <a:pt x="54787" y="0"/>
                </a:lnTo>
                <a:close/>
                <a:moveTo>
                  <a:pt x="828675" y="1647825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37" name="Freeform 537"/>
          <p:cNvSpPr/>
          <p:nvPr/>
        </p:nvSpPr>
        <p:spPr>
          <a:xfrm>
            <a:off x="886167" y="5439918"/>
            <a:ext cx="56909" cy="255"/>
          </a:xfrm>
          <a:custGeom>
            <a:avLst/>
            <a:gdLst/>
            <a:ahLst/>
            <a:cxnLst/>
            <a:rect l="0" t="0" r="0" b="0"/>
            <a:pathLst>
              <a:path w="56909" h="255">
                <a:moveTo>
                  <a:pt x="56909" y="0"/>
                </a:moveTo>
                <a:lnTo>
                  <a:pt x="0" y="0"/>
                </a:lnTo>
                <a:lnTo>
                  <a:pt x="31115" y="255"/>
                </a:lnTo>
                <a:lnTo>
                  <a:pt x="46394" y="255"/>
                </a:lnTo>
                <a:lnTo>
                  <a:pt x="56909" y="0"/>
                </a:lnTo>
                <a:close/>
                <a:moveTo>
                  <a:pt x="531915" y="1418082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38" name="Freeform 538"/>
          <p:cNvSpPr/>
          <p:nvPr/>
        </p:nvSpPr>
        <p:spPr>
          <a:xfrm>
            <a:off x="943076" y="5412614"/>
            <a:ext cx="30594" cy="27304"/>
          </a:xfrm>
          <a:custGeom>
            <a:avLst/>
            <a:gdLst/>
            <a:ahLst/>
            <a:cxnLst/>
            <a:rect l="0" t="0" r="0" b="0"/>
            <a:pathLst>
              <a:path w="30594" h="27304">
                <a:moveTo>
                  <a:pt x="241" y="0"/>
                </a:moveTo>
                <a:lnTo>
                  <a:pt x="0" y="27304"/>
                </a:lnTo>
                <a:lnTo>
                  <a:pt x="4686" y="27304"/>
                </a:lnTo>
                <a:lnTo>
                  <a:pt x="15215" y="25653"/>
                </a:lnTo>
                <a:lnTo>
                  <a:pt x="23762" y="21717"/>
                </a:lnTo>
                <a:lnTo>
                  <a:pt x="29947" y="14986"/>
                </a:lnTo>
                <a:lnTo>
                  <a:pt x="30493" y="13334"/>
                </a:lnTo>
                <a:lnTo>
                  <a:pt x="30594" y="1778"/>
                </a:lnTo>
                <a:lnTo>
                  <a:pt x="3835" y="1778"/>
                </a:lnTo>
                <a:lnTo>
                  <a:pt x="3835" y="126"/>
                </a:lnTo>
                <a:lnTo>
                  <a:pt x="457" y="126"/>
                </a:lnTo>
                <a:lnTo>
                  <a:pt x="241" y="0"/>
                </a:lnTo>
                <a:close/>
                <a:moveTo>
                  <a:pt x="502310" y="1445386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39" name="Freeform 539"/>
          <p:cNvSpPr/>
          <p:nvPr/>
        </p:nvSpPr>
        <p:spPr>
          <a:xfrm>
            <a:off x="973569" y="5356734"/>
            <a:ext cx="4394" cy="69214"/>
          </a:xfrm>
          <a:custGeom>
            <a:avLst/>
            <a:gdLst/>
            <a:ahLst/>
            <a:cxnLst/>
            <a:rect l="0" t="0" r="0" b="0"/>
            <a:pathLst>
              <a:path w="4394" h="69214">
                <a:moveTo>
                  <a:pt x="2032" y="0"/>
                </a:moveTo>
                <a:lnTo>
                  <a:pt x="203" y="45847"/>
                </a:lnTo>
                <a:lnTo>
                  <a:pt x="0" y="69214"/>
                </a:lnTo>
                <a:lnTo>
                  <a:pt x="2870" y="60959"/>
                </a:lnTo>
                <a:lnTo>
                  <a:pt x="4394" y="46100"/>
                </a:lnTo>
                <a:lnTo>
                  <a:pt x="4343" y="30733"/>
                </a:lnTo>
                <a:lnTo>
                  <a:pt x="3340" y="15113"/>
                </a:lnTo>
                <a:lnTo>
                  <a:pt x="2032" y="0"/>
                </a:lnTo>
                <a:close/>
                <a:moveTo>
                  <a:pt x="527697" y="1501266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40" name="Freeform 540"/>
          <p:cNvSpPr/>
          <p:nvPr/>
        </p:nvSpPr>
        <p:spPr>
          <a:xfrm>
            <a:off x="842302" y="5409439"/>
            <a:ext cx="6756" cy="9017"/>
          </a:xfrm>
          <a:custGeom>
            <a:avLst/>
            <a:gdLst/>
            <a:ahLst/>
            <a:cxnLst/>
            <a:rect l="0" t="0" r="0" b="0"/>
            <a:pathLst>
              <a:path w="6756" h="9017">
                <a:moveTo>
                  <a:pt x="0" y="0"/>
                </a:moveTo>
                <a:lnTo>
                  <a:pt x="2540" y="2412"/>
                </a:lnTo>
                <a:lnTo>
                  <a:pt x="5067" y="5714"/>
                </a:lnTo>
                <a:lnTo>
                  <a:pt x="6756" y="9017"/>
                </a:lnTo>
                <a:lnTo>
                  <a:pt x="6642" y="4953"/>
                </a:lnTo>
                <a:lnTo>
                  <a:pt x="6743" y="1778"/>
                </a:lnTo>
                <a:lnTo>
                  <a:pt x="0" y="0"/>
                </a:lnTo>
                <a:close/>
                <a:moveTo>
                  <a:pt x="606259" y="1448561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41" name="Freeform 541"/>
          <p:cNvSpPr/>
          <p:nvPr/>
        </p:nvSpPr>
        <p:spPr>
          <a:xfrm>
            <a:off x="848944" y="5411217"/>
            <a:ext cx="94373" cy="7239"/>
          </a:xfrm>
          <a:custGeom>
            <a:avLst/>
            <a:gdLst/>
            <a:ahLst/>
            <a:cxnLst/>
            <a:rect l="0" t="0" r="0" b="0"/>
            <a:pathLst>
              <a:path w="94373" h="7239">
                <a:moveTo>
                  <a:pt x="101" y="0"/>
                </a:moveTo>
                <a:lnTo>
                  <a:pt x="0" y="3175"/>
                </a:lnTo>
                <a:lnTo>
                  <a:pt x="114" y="7239"/>
                </a:lnTo>
                <a:lnTo>
                  <a:pt x="94323" y="7239"/>
                </a:lnTo>
                <a:lnTo>
                  <a:pt x="94373" y="1397"/>
                </a:lnTo>
                <a:lnTo>
                  <a:pt x="88976" y="381"/>
                </a:lnTo>
                <a:lnTo>
                  <a:pt x="12979" y="381"/>
                </a:lnTo>
                <a:lnTo>
                  <a:pt x="1346" y="381"/>
                </a:lnTo>
                <a:lnTo>
                  <a:pt x="101" y="0"/>
                </a:lnTo>
                <a:close/>
                <a:moveTo>
                  <a:pt x="597839" y="1446783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42" name="Freeform 542"/>
          <p:cNvSpPr/>
          <p:nvPr/>
        </p:nvSpPr>
        <p:spPr>
          <a:xfrm>
            <a:off x="946911" y="5410200"/>
            <a:ext cx="851" cy="4192"/>
          </a:xfrm>
          <a:custGeom>
            <a:avLst/>
            <a:gdLst/>
            <a:ahLst/>
            <a:cxnLst/>
            <a:rect l="0" t="0" r="0" b="0"/>
            <a:pathLst>
              <a:path w="851" h="4192">
                <a:moveTo>
                  <a:pt x="851" y="0"/>
                </a:moveTo>
                <a:lnTo>
                  <a:pt x="0" y="509"/>
                </a:lnTo>
                <a:lnTo>
                  <a:pt x="0" y="4192"/>
                </a:lnTo>
                <a:lnTo>
                  <a:pt x="851" y="0"/>
                </a:lnTo>
                <a:close/>
                <a:moveTo>
                  <a:pt x="500889" y="1447800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43" name="Freeform 543"/>
          <p:cNvSpPr/>
          <p:nvPr/>
        </p:nvSpPr>
        <p:spPr>
          <a:xfrm>
            <a:off x="946911" y="5410200"/>
            <a:ext cx="26797" cy="4192"/>
          </a:xfrm>
          <a:custGeom>
            <a:avLst/>
            <a:gdLst/>
            <a:ahLst/>
            <a:cxnLst/>
            <a:rect l="0" t="0" r="0" b="0"/>
            <a:pathLst>
              <a:path w="26797" h="4192">
                <a:moveTo>
                  <a:pt x="26797" y="0"/>
                </a:moveTo>
                <a:lnTo>
                  <a:pt x="851" y="0"/>
                </a:lnTo>
                <a:lnTo>
                  <a:pt x="0" y="4192"/>
                </a:lnTo>
                <a:lnTo>
                  <a:pt x="26759" y="4192"/>
                </a:lnTo>
                <a:lnTo>
                  <a:pt x="26797" y="0"/>
                </a:lnTo>
                <a:close/>
                <a:moveTo>
                  <a:pt x="500889" y="1447800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44" name="Freeform 544"/>
          <p:cNvSpPr/>
          <p:nvPr/>
        </p:nvSpPr>
        <p:spPr>
          <a:xfrm>
            <a:off x="943317" y="5356734"/>
            <a:ext cx="3861" cy="56006"/>
          </a:xfrm>
          <a:custGeom>
            <a:avLst/>
            <a:gdLst/>
            <a:ahLst/>
            <a:cxnLst/>
            <a:rect l="0" t="0" r="0" b="0"/>
            <a:pathLst>
              <a:path w="3861" h="56006">
                <a:moveTo>
                  <a:pt x="1905" y="0"/>
                </a:moveTo>
                <a:lnTo>
                  <a:pt x="89" y="45847"/>
                </a:lnTo>
                <a:lnTo>
                  <a:pt x="0" y="55880"/>
                </a:lnTo>
                <a:lnTo>
                  <a:pt x="216" y="56006"/>
                </a:lnTo>
                <a:lnTo>
                  <a:pt x="3468" y="54102"/>
                </a:lnTo>
                <a:lnTo>
                  <a:pt x="3594" y="44450"/>
                </a:lnTo>
                <a:lnTo>
                  <a:pt x="3861" y="35305"/>
                </a:lnTo>
                <a:lnTo>
                  <a:pt x="3836" y="28702"/>
                </a:lnTo>
                <a:lnTo>
                  <a:pt x="3709" y="22225"/>
                </a:lnTo>
                <a:lnTo>
                  <a:pt x="3010" y="11049"/>
                </a:lnTo>
                <a:lnTo>
                  <a:pt x="1905" y="0"/>
                </a:lnTo>
                <a:close/>
                <a:moveTo>
                  <a:pt x="557949" y="1501266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45" name="Freeform 545"/>
          <p:cNvSpPr/>
          <p:nvPr/>
        </p:nvSpPr>
        <p:spPr>
          <a:xfrm>
            <a:off x="943533" y="5410709"/>
            <a:ext cx="3378" cy="2031"/>
          </a:xfrm>
          <a:custGeom>
            <a:avLst/>
            <a:gdLst/>
            <a:ahLst/>
            <a:cxnLst/>
            <a:rect l="0" t="0" r="0" b="0"/>
            <a:pathLst>
              <a:path w="3378" h="2031">
                <a:moveTo>
                  <a:pt x="3378" y="0"/>
                </a:moveTo>
                <a:lnTo>
                  <a:pt x="0" y="2031"/>
                </a:lnTo>
                <a:lnTo>
                  <a:pt x="3378" y="2031"/>
                </a:lnTo>
                <a:lnTo>
                  <a:pt x="3378" y="0"/>
                </a:lnTo>
                <a:close/>
                <a:moveTo>
                  <a:pt x="503758" y="1447291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46" name="Freeform 546"/>
          <p:cNvSpPr/>
          <p:nvPr/>
        </p:nvSpPr>
        <p:spPr>
          <a:xfrm>
            <a:off x="861923" y="5410200"/>
            <a:ext cx="75997" cy="1398"/>
          </a:xfrm>
          <a:custGeom>
            <a:avLst/>
            <a:gdLst/>
            <a:ahLst/>
            <a:cxnLst/>
            <a:rect l="0" t="0" r="0" b="0"/>
            <a:pathLst>
              <a:path w="75997" h="1398">
                <a:moveTo>
                  <a:pt x="68123" y="0"/>
                </a:moveTo>
                <a:lnTo>
                  <a:pt x="20879" y="0"/>
                </a:lnTo>
                <a:lnTo>
                  <a:pt x="11938" y="636"/>
                </a:lnTo>
                <a:lnTo>
                  <a:pt x="0" y="1398"/>
                </a:lnTo>
                <a:lnTo>
                  <a:pt x="75997" y="1398"/>
                </a:lnTo>
                <a:lnTo>
                  <a:pt x="68123" y="0"/>
                </a:lnTo>
                <a:close/>
                <a:moveTo>
                  <a:pt x="585877" y="1447800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47" name="Freeform 547"/>
          <p:cNvSpPr/>
          <p:nvPr/>
        </p:nvSpPr>
        <p:spPr>
          <a:xfrm>
            <a:off x="842302" y="5409439"/>
            <a:ext cx="7086" cy="1778"/>
          </a:xfrm>
          <a:custGeom>
            <a:avLst/>
            <a:gdLst/>
            <a:ahLst/>
            <a:cxnLst/>
            <a:rect l="0" t="0" r="0" b="0"/>
            <a:pathLst>
              <a:path w="7086" h="1778">
                <a:moveTo>
                  <a:pt x="7086" y="0"/>
                </a:moveTo>
                <a:lnTo>
                  <a:pt x="0" y="0"/>
                </a:lnTo>
                <a:lnTo>
                  <a:pt x="6743" y="1778"/>
                </a:lnTo>
                <a:lnTo>
                  <a:pt x="7086" y="0"/>
                </a:lnTo>
                <a:close/>
                <a:moveTo>
                  <a:pt x="606259" y="1448561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48" name="Freeform 548"/>
          <p:cNvSpPr/>
          <p:nvPr/>
        </p:nvSpPr>
        <p:spPr>
          <a:xfrm>
            <a:off x="945222" y="5342764"/>
            <a:ext cx="30379" cy="67945"/>
          </a:xfrm>
          <a:custGeom>
            <a:avLst/>
            <a:gdLst/>
            <a:ahLst/>
            <a:cxnLst/>
            <a:rect l="0" t="0" r="0" b="0"/>
            <a:pathLst>
              <a:path w="30379" h="67945">
                <a:moveTo>
                  <a:pt x="14872" y="0"/>
                </a:moveTo>
                <a:lnTo>
                  <a:pt x="4864" y="3428"/>
                </a:lnTo>
                <a:lnTo>
                  <a:pt x="0" y="13970"/>
                </a:lnTo>
                <a:lnTo>
                  <a:pt x="1105" y="25019"/>
                </a:lnTo>
                <a:lnTo>
                  <a:pt x="1804" y="36322"/>
                </a:lnTo>
                <a:lnTo>
                  <a:pt x="1931" y="42672"/>
                </a:lnTo>
                <a:lnTo>
                  <a:pt x="1956" y="49275"/>
                </a:lnTo>
                <a:lnTo>
                  <a:pt x="1791" y="55245"/>
                </a:lnTo>
                <a:lnTo>
                  <a:pt x="1689" y="67945"/>
                </a:lnTo>
                <a:lnTo>
                  <a:pt x="2540" y="67436"/>
                </a:lnTo>
                <a:lnTo>
                  <a:pt x="28486" y="67436"/>
                </a:lnTo>
                <a:lnTo>
                  <a:pt x="28614" y="58420"/>
                </a:lnTo>
                <a:lnTo>
                  <a:pt x="30379" y="13970"/>
                </a:lnTo>
                <a:lnTo>
                  <a:pt x="25032" y="3556"/>
                </a:lnTo>
                <a:lnTo>
                  <a:pt x="14872" y="0"/>
                </a:lnTo>
                <a:close/>
                <a:moveTo>
                  <a:pt x="570014" y="1515236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49" name="Freeform 549"/>
          <p:cNvSpPr/>
          <p:nvPr/>
        </p:nvSpPr>
        <p:spPr>
          <a:xfrm>
            <a:off x="828675" y="6154967"/>
            <a:ext cx="202133" cy="121374"/>
          </a:xfrm>
          <a:custGeom>
            <a:avLst/>
            <a:gdLst/>
            <a:ahLst/>
            <a:cxnLst/>
            <a:rect l="0" t="0" r="0" b="0"/>
            <a:pathLst>
              <a:path w="202133" h="121374">
                <a:moveTo>
                  <a:pt x="9525" y="0"/>
                </a:moveTo>
                <a:lnTo>
                  <a:pt x="698" y="6350"/>
                </a:lnTo>
                <a:lnTo>
                  <a:pt x="0" y="18313"/>
                </a:lnTo>
                <a:lnTo>
                  <a:pt x="15709" y="51803"/>
                </a:lnTo>
                <a:lnTo>
                  <a:pt x="37985" y="81572"/>
                </a:lnTo>
                <a:lnTo>
                  <a:pt x="66598" y="104838"/>
                </a:lnTo>
                <a:lnTo>
                  <a:pt x="101307" y="118833"/>
                </a:lnTo>
                <a:lnTo>
                  <a:pt x="134772" y="121374"/>
                </a:lnTo>
                <a:lnTo>
                  <a:pt x="167766" y="113741"/>
                </a:lnTo>
                <a:lnTo>
                  <a:pt x="196519" y="96532"/>
                </a:lnTo>
                <a:lnTo>
                  <a:pt x="202133" y="89471"/>
                </a:lnTo>
                <a:lnTo>
                  <a:pt x="112356" y="89471"/>
                </a:lnTo>
                <a:lnTo>
                  <a:pt x="76949" y="74091"/>
                </a:lnTo>
                <a:lnTo>
                  <a:pt x="48526" y="45567"/>
                </a:lnTo>
                <a:lnTo>
                  <a:pt x="29438" y="9639"/>
                </a:lnTo>
                <a:lnTo>
                  <a:pt x="20942" y="635"/>
                </a:lnTo>
                <a:lnTo>
                  <a:pt x="9525" y="0"/>
                </a:lnTo>
                <a:close/>
                <a:moveTo>
                  <a:pt x="-125642" y="703033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50" name="Freeform 550"/>
          <p:cNvSpPr/>
          <p:nvPr/>
        </p:nvSpPr>
        <p:spPr>
          <a:xfrm>
            <a:off x="937742" y="6078119"/>
            <a:ext cx="119304" cy="166319"/>
          </a:xfrm>
          <a:custGeom>
            <a:avLst/>
            <a:gdLst/>
            <a:ahLst/>
            <a:cxnLst/>
            <a:rect l="0" t="0" r="0" b="0"/>
            <a:pathLst>
              <a:path w="119304" h="166319">
                <a:moveTo>
                  <a:pt x="82804" y="0"/>
                </a:moveTo>
                <a:lnTo>
                  <a:pt x="0" y="0"/>
                </a:lnTo>
                <a:lnTo>
                  <a:pt x="21679" y="686"/>
                </a:lnTo>
                <a:lnTo>
                  <a:pt x="39345" y="5486"/>
                </a:lnTo>
                <a:lnTo>
                  <a:pt x="77089" y="42291"/>
                </a:lnTo>
                <a:lnTo>
                  <a:pt x="87617" y="77483"/>
                </a:lnTo>
                <a:lnTo>
                  <a:pt x="86830" y="111620"/>
                </a:lnTo>
                <a:lnTo>
                  <a:pt x="72708" y="142469"/>
                </a:lnTo>
                <a:lnTo>
                  <a:pt x="43320" y="162750"/>
                </a:lnTo>
                <a:lnTo>
                  <a:pt x="3289" y="166319"/>
                </a:lnTo>
                <a:lnTo>
                  <a:pt x="93066" y="166319"/>
                </a:lnTo>
                <a:lnTo>
                  <a:pt x="108268" y="147155"/>
                </a:lnTo>
                <a:lnTo>
                  <a:pt x="118974" y="112814"/>
                </a:lnTo>
                <a:lnTo>
                  <a:pt x="119304" y="75870"/>
                </a:lnTo>
                <a:lnTo>
                  <a:pt x="110211" y="39903"/>
                </a:lnTo>
                <a:lnTo>
                  <a:pt x="92685" y="8483"/>
                </a:lnTo>
                <a:lnTo>
                  <a:pt x="82804" y="0"/>
                </a:lnTo>
                <a:close/>
                <a:moveTo>
                  <a:pt x="-157861" y="779881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51" name="Freeform 551"/>
          <p:cNvSpPr/>
          <p:nvPr/>
        </p:nvSpPr>
        <p:spPr>
          <a:xfrm>
            <a:off x="832789" y="5924550"/>
            <a:ext cx="187757" cy="164656"/>
          </a:xfrm>
          <a:custGeom>
            <a:avLst/>
            <a:gdLst/>
            <a:ahLst/>
            <a:cxnLst/>
            <a:rect l="0" t="0" r="0" b="0"/>
            <a:pathLst>
              <a:path w="187757" h="164656">
                <a:moveTo>
                  <a:pt x="146546" y="0"/>
                </a:moveTo>
                <a:lnTo>
                  <a:pt x="52159" y="6935"/>
                </a:lnTo>
                <a:lnTo>
                  <a:pt x="7595" y="21425"/>
                </a:lnTo>
                <a:lnTo>
                  <a:pt x="0" y="46990"/>
                </a:lnTo>
                <a:lnTo>
                  <a:pt x="216" y="56655"/>
                </a:lnTo>
                <a:lnTo>
                  <a:pt x="3112" y="87884"/>
                </a:lnTo>
                <a:lnTo>
                  <a:pt x="5106" y="113170"/>
                </a:lnTo>
                <a:lnTo>
                  <a:pt x="14174" y="154915"/>
                </a:lnTo>
                <a:lnTo>
                  <a:pt x="40907" y="164656"/>
                </a:lnTo>
                <a:lnTo>
                  <a:pt x="62586" y="160960"/>
                </a:lnTo>
                <a:lnTo>
                  <a:pt x="83769" y="156541"/>
                </a:lnTo>
                <a:lnTo>
                  <a:pt x="104953" y="153569"/>
                </a:lnTo>
                <a:lnTo>
                  <a:pt x="187757" y="153569"/>
                </a:lnTo>
                <a:lnTo>
                  <a:pt x="166408" y="135192"/>
                </a:lnTo>
                <a:lnTo>
                  <a:pt x="39180" y="135192"/>
                </a:lnTo>
                <a:lnTo>
                  <a:pt x="37453" y="134328"/>
                </a:lnTo>
                <a:lnTo>
                  <a:pt x="37453" y="122200"/>
                </a:lnTo>
                <a:lnTo>
                  <a:pt x="32246" y="68466"/>
                </a:lnTo>
                <a:lnTo>
                  <a:pt x="32246" y="63259"/>
                </a:lnTo>
                <a:lnTo>
                  <a:pt x="28791" y="49403"/>
                </a:lnTo>
                <a:lnTo>
                  <a:pt x="31382" y="44197"/>
                </a:lnTo>
                <a:lnTo>
                  <a:pt x="40158" y="38570"/>
                </a:lnTo>
                <a:lnTo>
                  <a:pt x="56058" y="36284"/>
                </a:lnTo>
                <a:lnTo>
                  <a:pt x="85941" y="35535"/>
                </a:lnTo>
                <a:lnTo>
                  <a:pt x="101003" y="34735"/>
                </a:lnTo>
                <a:lnTo>
                  <a:pt x="116243" y="33694"/>
                </a:lnTo>
                <a:lnTo>
                  <a:pt x="146546" y="31204"/>
                </a:lnTo>
                <a:lnTo>
                  <a:pt x="157747" y="25845"/>
                </a:lnTo>
                <a:lnTo>
                  <a:pt x="161481" y="14948"/>
                </a:lnTo>
                <a:lnTo>
                  <a:pt x="157747" y="4382"/>
                </a:lnTo>
                <a:lnTo>
                  <a:pt x="146546" y="0"/>
                </a:lnTo>
                <a:close/>
                <a:moveTo>
                  <a:pt x="100661" y="933450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52" name="Freeform 552"/>
          <p:cNvSpPr/>
          <p:nvPr/>
        </p:nvSpPr>
        <p:spPr>
          <a:xfrm>
            <a:off x="871969" y="6048363"/>
            <a:ext cx="127228" cy="11379"/>
          </a:xfrm>
          <a:custGeom>
            <a:avLst/>
            <a:gdLst/>
            <a:ahLst/>
            <a:cxnLst/>
            <a:rect l="0" t="0" r="0" b="0"/>
            <a:pathLst>
              <a:path w="127228" h="11379">
                <a:moveTo>
                  <a:pt x="90157" y="0"/>
                </a:moveTo>
                <a:lnTo>
                  <a:pt x="50203" y="343"/>
                </a:lnTo>
                <a:lnTo>
                  <a:pt x="9525" y="7912"/>
                </a:lnTo>
                <a:lnTo>
                  <a:pt x="7785" y="7912"/>
                </a:lnTo>
                <a:lnTo>
                  <a:pt x="0" y="11379"/>
                </a:lnTo>
                <a:lnTo>
                  <a:pt x="127228" y="11379"/>
                </a:lnTo>
                <a:lnTo>
                  <a:pt x="127025" y="11201"/>
                </a:lnTo>
                <a:lnTo>
                  <a:pt x="90157" y="0"/>
                </a:lnTo>
                <a:close/>
                <a:moveTo>
                  <a:pt x="-62332" y="809637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53" name="Rectangle 553"/>
          <p:cNvSpPr/>
          <p:nvPr/>
        </p:nvSpPr>
        <p:spPr>
          <a:xfrm>
            <a:off x="11418951" y="6397333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16</a:t>
            </a:r>
          </a:p>
        </p:txBody>
      </p:sp>
      <p:sp>
        <p:nvSpPr>
          <p:cNvPr id="554" name="Rectangle 554"/>
          <p:cNvSpPr/>
          <p:nvPr/>
        </p:nvSpPr>
        <p:spPr>
          <a:xfrm>
            <a:off x="630555" y="488768"/>
            <a:ext cx="4914581" cy="61258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Th</a:t>
            </a:r>
            <a:r>
              <a:rPr lang="fr-FR" sz="3604" b="1" i="0" spc="953" baseline="0" dirty="0">
                <a:solidFill>
                  <a:srgbClr val="466CAD"/>
                </a:solidFill>
                <a:latin typeface="Arial"/>
              </a:rPr>
              <a:t>e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recruitin</a:t>
            </a:r>
            <a:r>
              <a:rPr lang="fr-FR" sz="3604" b="1" i="0" spc="1012" baseline="0" dirty="0">
                <a:solidFill>
                  <a:srgbClr val="466CAD"/>
                </a:solidFill>
                <a:latin typeface="Arial"/>
              </a:rPr>
              <a:t>g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process</a:t>
            </a:r>
          </a:p>
        </p:txBody>
      </p:sp>
      <p:sp>
        <p:nvSpPr>
          <p:cNvPr id="555" name="Rectangle 555"/>
          <p:cNvSpPr/>
          <p:nvPr/>
        </p:nvSpPr>
        <p:spPr>
          <a:xfrm>
            <a:off x="8923019" y="2321380"/>
            <a:ext cx="2205475" cy="12411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74295"/>
            <a:r>
              <a:rPr lang="fr-FR" sz="1577" b="1" i="0" spc="0" baseline="0" dirty="0" err="1">
                <a:solidFill>
                  <a:srgbClr val="FFFFFF"/>
                </a:solidFill>
                <a:latin typeface="Arial"/>
              </a:rPr>
              <a:t>Specificitie</a:t>
            </a:r>
            <a:r>
              <a:rPr lang="fr-FR" sz="1577" b="1" i="0" spc="488" baseline="0" dirty="0" err="1">
                <a:solidFill>
                  <a:srgbClr val="FFFFFF"/>
                </a:solidFill>
                <a:latin typeface="Arial"/>
              </a:rPr>
              <a:t>s</a:t>
            </a:r>
            <a:r>
              <a:rPr lang="fr-FR" sz="1577" b="1" i="0" spc="0" baseline="0" dirty="0" err="1">
                <a:solidFill>
                  <a:srgbClr val="FFFFFF"/>
                </a:solidFill>
                <a:latin typeface="Arial"/>
              </a:rPr>
              <a:t>in</a:t>
            </a:r>
            <a:r>
              <a:rPr lang="fr-FR" sz="1577" b="1" i="0" spc="0" baseline="0" dirty="0">
                <a:solidFill>
                  <a:srgbClr val="FFFFFF"/>
                </a:solidFill>
                <a:latin typeface="Arial"/>
              </a:rPr>
              <a:t> </a:t>
            </a:r>
          </a:p>
          <a:p>
            <a:pPr marL="0">
              <a:lnSpc>
                <a:spcPts val="1878"/>
              </a:lnSpc>
            </a:pPr>
            <a:r>
              <a:rPr lang="fr-FR" sz="1575" b="1" i="0" spc="0" baseline="0" dirty="0">
                <a:solidFill>
                  <a:srgbClr val="FFFFFF"/>
                </a:solidFill>
                <a:latin typeface="Arial"/>
              </a:rPr>
              <a:t>some consulting firms </a:t>
            </a:r>
          </a:p>
          <a:p>
            <a:pPr marL="191135">
              <a:lnSpc>
                <a:spcPts val="1952"/>
              </a:lnSpc>
            </a:pPr>
            <a:r>
              <a:rPr lang="fr-FR" sz="1575" b="1" i="0" spc="0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575" b="1" i="0" spc="472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575" b="1" i="0" spc="0" baseline="0" dirty="0">
                <a:solidFill>
                  <a:srgbClr val="FFFFFF"/>
                </a:solidFill>
                <a:latin typeface="Arial"/>
              </a:rPr>
              <a:t>b</a:t>
            </a:r>
            <a:r>
              <a:rPr lang="fr-FR" sz="1575" b="1" i="0" spc="441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575" b="1" i="0" spc="0" baseline="0" dirty="0">
                <a:solidFill>
                  <a:srgbClr val="FFFFFF"/>
                </a:solidFill>
                <a:latin typeface="Arial"/>
              </a:rPr>
              <a:t>explaine</a:t>
            </a:r>
            <a:r>
              <a:rPr lang="fr-FR" sz="1575" b="1" i="0" spc="450" baseline="0" dirty="0">
                <a:solidFill>
                  <a:srgbClr val="FFFFFF"/>
                </a:solidFill>
                <a:latin typeface="Arial"/>
              </a:rPr>
              <a:t>d</a:t>
            </a:r>
            <a:r>
              <a:rPr lang="fr-FR" sz="1575" b="1" i="0" spc="0" baseline="0" dirty="0">
                <a:solidFill>
                  <a:srgbClr val="FFFFFF"/>
                </a:solidFill>
                <a:latin typeface="Arial"/>
              </a:rPr>
              <a:t>on </a:t>
            </a:r>
          </a:p>
          <a:p>
            <a:pPr marL="447294">
              <a:lnSpc>
                <a:spcPts val="1952"/>
              </a:lnSpc>
            </a:pPr>
            <a:r>
              <a:rPr lang="fr-FR" sz="1577" b="1" i="0" spc="0" baseline="0" dirty="0">
                <a:solidFill>
                  <a:srgbClr val="FFFFFF"/>
                </a:solidFill>
                <a:latin typeface="Arial"/>
              </a:rPr>
              <a:t>websites</a:t>
            </a:r>
            <a:r>
              <a:rPr lang="fr-FR" sz="1577" b="1" i="0" spc="478" baseline="0" dirty="0">
                <a:solidFill>
                  <a:srgbClr val="FFFFFF"/>
                </a:solidFill>
                <a:latin typeface="Arial"/>
              </a:rPr>
              <a:t>/</a:t>
            </a:r>
            <a:r>
              <a:rPr lang="fr-FR" sz="1577" b="1" i="0" spc="0" baseline="0" dirty="0">
                <a:solidFill>
                  <a:srgbClr val="FFFFFF"/>
                </a:solidFill>
                <a:latin typeface="Arial"/>
              </a:rPr>
              <a:t>HR</a:t>
            </a:r>
          </a:p>
          <a:p>
            <a:pPr marL="531495">
              <a:lnSpc>
                <a:spcPts val="1877"/>
              </a:lnSpc>
            </a:pPr>
            <a:r>
              <a:rPr lang="fr-FR" sz="1577" b="1" i="0" spc="0" baseline="0" dirty="0">
                <a:solidFill>
                  <a:srgbClr val="FFFFFF"/>
                </a:solidFill>
                <a:latin typeface="Arial"/>
              </a:rPr>
              <a:t>(job</a:t>
            </a:r>
            <a:r>
              <a:rPr lang="fr-FR" sz="1577" b="1" i="0" spc="426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577" b="1" i="0" spc="0" baseline="0" dirty="0">
                <a:solidFill>
                  <a:srgbClr val="FFFFFF"/>
                </a:solidFill>
                <a:latin typeface="Arial"/>
              </a:rPr>
              <a:t>fares)</a:t>
            </a:r>
          </a:p>
        </p:txBody>
      </p:sp>
      <p:sp>
        <p:nvSpPr>
          <p:cNvPr id="556" name="Rectangle 556"/>
          <p:cNvSpPr/>
          <p:nvPr/>
        </p:nvSpPr>
        <p:spPr>
          <a:xfrm>
            <a:off x="8967089" y="3816957"/>
            <a:ext cx="2092390" cy="46202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e.g</a:t>
            </a:r>
            <a:r>
              <a:rPr lang="fr-FR" sz="1427" b="0" i="0" spc="324" baseline="0" dirty="0">
                <a:solidFill>
                  <a:srgbClr val="FFFFFF"/>
                </a:solidFill>
                <a:latin typeface="Arial"/>
              </a:rPr>
              <a:t>.</a:t>
            </a: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slide</a:t>
            </a:r>
            <a:r>
              <a:rPr lang="fr-FR" sz="1427" b="0" i="0" spc="357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developmen</a:t>
            </a:r>
            <a:r>
              <a:rPr lang="fr-FR" sz="1427" b="0" i="0" spc="319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at </a:t>
            </a:r>
          </a:p>
          <a:p>
            <a:pPr marL="151256">
              <a:lnSpc>
                <a:spcPts val="1727"/>
              </a:lnSpc>
            </a:pP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BCG</a:t>
            </a:r>
            <a:r>
              <a:rPr lang="fr-FR" sz="1427" b="0" i="0" spc="326" baseline="0" dirty="0">
                <a:solidFill>
                  <a:srgbClr val="FFFFFF"/>
                </a:solidFill>
                <a:latin typeface="Arial"/>
              </a:rPr>
              <a:t>,</a:t>
            </a: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writte</a:t>
            </a:r>
            <a:r>
              <a:rPr lang="fr-FR" sz="1427" b="0" i="0" spc="344" baseline="0" dirty="0">
                <a:solidFill>
                  <a:srgbClr val="FFFFFF"/>
                </a:solidFill>
                <a:latin typeface="Arial"/>
              </a:rPr>
              <a:t>n</a:t>
            </a: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business</a:t>
            </a:r>
          </a:p>
        </p:txBody>
      </p:sp>
      <p:sp>
        <p:nvSpPr>
          <p:cNvPr id="557" name="Rectangle 557"/>
          <p:cNvSpPr/>
          <p:nvPr/>
        </p:nvSpPr>
        <p:spPr>
          <a:xfrm>
            <a:off x="8952865" y="4246218"/>
            <a:ext cx="2100355" cy="4524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case</a:t>
            </a:r>
            <a:r>
              <a:rPr lang="fr-FR" sz="1427" b="0" i="0" spc="338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a</a:t>
            </a:r>
            <a:r>
              <a:rPr lang="fr-FR" sz="1427" b="0" i="0" spc="384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McKinsey</a:t>
            </a:r>
            <a:r>
              <a:rPr lang="fr-FR" sz="1427" b="0" i="0" spc="328" baseline="0" dirty="0">
                <a:solidFill>
                  <a:srgbClr val="FFFFFF"/>
                </a:solidFill>
                <a:latin typeface="Arial"/>
              </a:rPr>
              <a:t>,</a:t>
            </a: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written </a:t>
            </a:r>
          </a:p>
          <a:p>
            <a:pPr marL="147066">
              <a:lnSpc>
                <a:spcPts val="1652"/>
              </a:lnSpc>
            </a:pPr>
            <a:r>
              <a:rPr lang="fr-FR" sz="1425" b="0" i="0" spc="0" baseline="0" dirty="0">
                <a:solidFill>
                  <a:srgbClr val="FFFFFF"/>
                </a:solidFill>
                <a:latin typeface="Arial"/>
              </a:rPr>
              <a:t>Englis</a:t>
            </a:r>
            <a:r>
              <a:rPr lang="fr-FR" sz="1425" b="0" i="0" spc="332" baseline="0" dirty="0">
                <a:solidFill>
                  <a:srgbClr val="FFFFFF"/>
                </a:solidFill>
                <a:latin typeface="Arial"/>
              </a:rPr>
              <a:t>h</a:t>
            </a:r>
            <a:r>
              <a:rPr lang="fr-FR" sz="1425" b="0" i="0" spc="0" baseline="0" dirty="0">
                <a:solidFill>
                  <a:srgbClr val="FFFFFF"/>
                </a:solidFill>
                <a:latin typeface="Arial"/>
              </a:rPr>
              <a:t>tes</a:t>
            </a:r>
            <a:r>
              <a:rPr lang="fr-FR" sz="1425" b="0" i="0" spc="315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425" b="0" i="0" spc="0" baseline="0" dirty="0">
                <a:solidFill>
                  <a:srgbClr val="FFFFFF"/>
                </a:solidFill>
                <a:latin typeface="Arial"/>
              </a:rPr>
              <a:t>a</a:t>
            </a:r>
            <a:r>
              <a:rPr lang="fr-FR" sz="1425" b="0" i="0" spc="380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425" b="0" i="0" spc="0" baseline="0" dirty="0">
                <a:solidFill>
                  <a:srgbClr val="FFFFFF"/>
                </a:solidFill>
                <a:latin typeface="Arial"/>
              </a:rPr>
              <a:t>Bain</a:t>
            </a:r>
            <a:r>
              <a:rPr lang="fr-FR" sz="1425" b="0" i="0" spc="373" baseline="0" dirty="0">
                <a:solidFill>
                  <a:srgbClr val="FFFFFF"/>
                </a:solidFill>
                <a:latin typeface="Arial"/>
              </a:rPr>
              <a:t>,…</a:t>
            </a:r>
          </a:p>
        </p:txBody>
      </p:sp>
      <p:sp>
        <p:nvSpPr>
          <p:cNvPr id="558" name="Rectangle 558"/>
          <p:cNvSpPr/>
          <p:nvPr/>
        </p:nvSpPr>
        <p:spPr>
          <a:xfrm>
            <a:off x="1250314" y="2754603"/>
            <a:ext cx="6171592" cy="58276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Fo</a:t>
            </a:r>
            <a:r>
              <a:rPr lang="fr-FR" sz="1802" b="0" i="0" spc="494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consultan</a:t>
            </a:r>
            <a:r>
              <a:rPr lang="fr-FR" sz="1802" b="1" i="0" spc="523" baseline="0" dirty="0">
                <a:solidFill>
                  <a:srgbClr val="466CAD"/>
                </a:solidFill>
                <a:latin typeface="Arial"/>
              </a:rPr>
              <a:t>t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positions</a:t>
            </a:r>
            <a:r>
              <a:rPr lang="fr-FR" sz="1802" b="0" i="0" spc="476" baseline="0" dirty="0">
                <a:solidFill>
                  <a:srgbClr val="466CAD"/>
                </a:solidFill>
                <a:latin typeface="Arial"/>
              </a:rPr>
              <a:t>,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a</a:t>
            </a:r>
            <a:r>
              <a:rPr lang="fr-FR" sz="1802" b="0" i="0" spc="508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leas</a:t>
            </a:r>
            <a:r>
              <a:rPr lang="fr-FR" sz="1802" b="0" i="0" spc="478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3 round</a:t>
            </a:r>
            <a:r>
              <a:rPr lang="fr-FR" sz="1802" b="1" i="0" spc="478" baseline="0" dirty="0">
                <a:solidFill>
                  <a:srgbClr val="466CAD"/>
                </a:solidFill>
                <a:latin typeface="Arial"/>
              </a:rPr>
              <a:t>s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o</a:t>
            </a:r>
            <a:r>
              <a:rPr lang="fr-FR" sz="1802" b="1" i="0" spc="469" baseline="0" dirty="0">
                <a:solidFill>
                  <a:srgbClr val="466CAD"/>
                </a:solidFill>
                <a:latin typeface="Arial"/>
              </a:rPr>
              <a:t>f</a:t>
            </a:r>
            <a:r>
              <a:rPr lang="fr-FR" sz="1802" b="1" i="0" spc="477" baseline="0" dirty="0">
                <a:solidFill>
                  <a:srgbClr val="466CAD"/>
                </a:solidFill>
                <a:latin typeface="Arial"/>
              </a:rPr>
              <a:t>2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interviews</a:t>
            </a:r>
          </a:p>
          <a:p>
            <a:pPr marL="0">
              <a:lnSpc>
                <a:spcPts val="2176"/>
              </a:lnSpc>
            </a:pP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Fo</a:t>
            </a:r>
            <a:r>
              <a:rPr lang="fr-FR" sz="1802" b="0" i="0" spc="499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internships</a:t>
            </a:r>
            <a:r>
              <a:rPr lang="fr-FR" sz="1802" b="0" i="0" spc="473" baseline="0" dirty="0">
                <a:solidFill>
                  <a:srgbClr val="7F7F7F"/>
                </a:solidFill>
                <a:latin typeface="Arial"/>
              </a:rPr>
              <a:t>,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at least </a:t>
            </a:r>
            <a:r>
              <a:rPr lang="fr-FR" sz="1802" b="1" i="0" spc="495" baseline="0" dirty="0">
                <a:solidFill>
                  <a:srgbClr val="466CAD"/>
                </a:solidFill>
                <a:latin typeface="Arial"/>
              </a:rPr>
              <a:t>2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round</a:t>
            </a:r>
            <a:r>
              <a:rPr lang="fr-FR" sz="1802" b="1" i="0" spc="488" baseline="0" dirty="0">
                <a:solidFill>
                  <a:srgbClr val="466CAD"/>
                </a:solidFill>
                <a:latin typeface="Arial"/>
              </a:rPr>
              <a:t>s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o</a:t>
            </a:r>
            <a:r>
              <a:rPr lang="fr-FR" sz="1802" b="1" i="0" spc="479" baseline="0" dirty="0">
                <a:solidFill>
                  <a:srgbClr val="466CAD"/>
                </a:solidFill>
                <a:latin typeface="Arial"/>
              </a:rPr>
              <a:t>f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2 interviews</a:t>
            </a:r>
          </a:p>
        </p:txBody>
      </p:sp>
      <p:sp>
        <p:nvSpPr>
          <p:cNvPr id="559" name="Rectangle 559"/>
          <p:cNvSpPr/>
          <p:nvPr/>
        </p:nvSpPr>
        <p:spPr>
          <a:xfrm>
            <a:off x="1249680" y="3715866"/>
            <a:ext cx="4378757" cy="58289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4</a:t>
            </a:r>
            <a:r>
              <a:rPr lang="fr-FR" sz="1802" b="1" i="0" spc="500" baseline="0" dirty="0">
                <a:solidFill>
                  <a:srgbClr val="466CAD"/>
                </a:solidFill>
                <a:latin typeface="Arial"/>
              </a:rPr>
              <a:t>5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t</a:t>
            </a:r>
            <a:r>
              <a:rPr lang="fr-FR" sz="1802" b="1" i="0" spc="505" baseline="0" dirty="0">
                <a:solidFill>
                  <a:srgbClr val="466CAD"/>
                </a:solidFill>
                <a:latin typeface="Arial"/>
              </a:rPr>
              <a:t>o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6</a:t>
            </a:r>
            <a:r>
              <a:rPr lang="fr-FR" sz="1802" b="1" i="0" spc="497" baseline="0" dirty="0">
                <a:solidFill>
                  <a:srgbClr val="466CAD"/>
                </a:solidFill>
                <a:latin typeface="Arial"/>
              </a:rPr>
              <a:t>0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minutes fo</a:t>
            </a:r>
            <a:r>
              <a:rPr lang="fr-FR" sz="1802" b="1" i="0" spc="509" baseline="0" dirty="0">
                <a:solidFill>
                  <a:srgbClr val="466CAD"/>
                </a:solidFill>
                <a:latin typeface="Arial"/>
              </a:rPr>
              <a:t>r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eac</a:t>
            </a:r>
            <a:r>
              <a:rPr lang="fr-FR" sz="1802" b="1" i="0" spc="488" baseline="0" dirty="0">
                <a:solidFill>
                  <a:srgbClr val="466CAD"/>
                </a:solidFill>
                <a:latin typeface="Arial"/>
              </a:rPr>
              <a:t>h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intervie</a:t>
            </a:r>
            <a:r>
              <a:rPr lang="fr-FR" sz="1802" b="1" i="0" spc="544" baseline="0" dirty="0">
                <a:solidFill>
                  <a:srgbClr val="466CAD"/>
                </a:solidFill>
                <a:latin typeface="Arial"/>
              </a:rPr>
              <a:t>w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with: </a:t>
            </a:r>
          </a:p>
          <a:p>
            <a:pPr marL="267588">
              <a:lnSpc>
                <a:spcPts val="2178"/>
              </a:lnSpc>
            </a:pP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1</a:t>
            </a:r>
            <a:r>
              <a:rPr lang="fr-FR" sz="1802" b="0" i="0" spc="492" baseline="0" dirty="0">
                <a:solidFill>
                  <a:srgbClr val="555555"/>
                </a:solidFill>
                <a:latin typeface="Arial"/>
              </a:rPr>
              <a:t>0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minute</a:t>
            </a:r>
            <a:r>
              <a:rPr lang="fr-FR" sz="1802" b="0" i="0" spc="465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802" b="0" i="0" spc="497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applicant’</a:t>
            </a:r>
            <a:r>
              <a:rPr lang="fr-FR" sz="1802" b="0" i="0" spc="475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background </a:t>
            </a:r>
          </a:p>
        </p:txBody>
      </p:sp>
      <p:sp>
        <p:nvSpPr>
          <p:cNvPr id="560" name="Rectangle 560"/>
          <p:cNvSpPr/>
          <p:nvPr/>
        </p:nvSpPr>
        <p:spPr>
          <a:xfrm>
            <a:off x="1517269" y="4247560"/>
            <a:ext cx="3693038" cy="58276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3</a:t>
            </a:r>
            <a:r>
              <a:rPr lang="fr-FR" sz="1802" b="0" i="0" spc="497" baseline="0" dirty="0">
                <a:solidFill>
                  <a:srgbClr val="555555"/>
                </a:solidFill>
                <a:latin typeface="Arial"/>
              </a:rPr>
              <a:t>0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to 4</a:t>
            </a:r>
            <a:r>
              <a:rPr lang="fr-FR" sz="1802" b="0" i="0" spc="505" baseline="0" dirty="0">
                <a:solidFill>
                  <a:srgbClr val="555555"/>
                </a:solidFill>
                <a:latin typeface="Arial"/>
              </a:rPr>
              <a:t>0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minute</a:t>
            </a:r>
            <a:r>
              <a:rPr lang="fr-FR" sz="1802" b="0" i="0" spc="480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802" b="0" i="0" spc="504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1802" b="0" i="0" spc="492" baseline="0" dirty="0">
                <a:solidFill>
                  <a:srgbClr val="555555"/>
                </a:solidFill>
                <a:latin typeface="Arial"/>
              </a:rPr>
              <a:t>a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busines</a:t>
            </a:r>
            <a:r>
              <a:rPr lang="fr-FR" sz="1802" b="0" i="0" spc="531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case</a:t>
            </a:r>
          </a:p>
          <a:p>
            <a:pPr marL="0">
              <a:lnSpc>
                <a:spcPts val="2177"/>
              </a:lnSpc>
            </a:pPr>
            <a:r>
              <a:rPr lang="fr-FR" sz="1802" b="0" i="0" spc="483" baseline="0" dirty="0">
                <a:solidFill>
                  <a:srgbClr val="555555"/>
                </a:solidFill>
                <a:latin typeface="Arial"/>
              </a:rPr>
              <a:t>5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0" spc="464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1</a:t>
            </a:r>
            <a:r>
              <a:rPr lang="fr-FR" sz="1802" b="0" i="0" spc="499" baseline="0" dirty="0">
                <a:solidFill>
                  <a:srgbClr val="555555"/>
                </a:solidFill>
                <a:latin typeface="Arial"/>
              </a:rPr>
              <a:t>0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minute</a:t>
            </a:r>
            <a:r>
              <a:rPr lang="fr-FR" sz="1802" b="0" i="0" spc="471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802" b="0" i="0" spc="497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Q&amp;A</a:t>
            </a:r>
          </a:p>
        </p:txBody>
      </p:sp>
      <p:sp>
        <p:nvSpPr>
          <p:cNvPr id="561" name="Rectangle 561"/>
          <p:cNvSpPr/>
          <p:nvPr/>
        </p:nvSpPr>
        <p:spPr>
          <a:xfrm>
            <a:off x="1273175" y="5245327"/>
            <a:ext cx="5103168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Interview</a:t>
            </a:r>
            <a:r>
              <a:rPr lang="fr-FR" sz="1802" b="0" i="0" spc="516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don</a:t>
            </a:r>
            <a:r>
              <a:rPr lang="fr-FR" sz="1802" b="0" i="0" spc="486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b</a:t>
            </a:r>
            <a:r>
              <a:rPr lang="fr-FR" sz="1802" b="0" i="0" spc="514" baseline="0" dirty="0">
                <a:solidFill>
                  <a:srgbClr val="555555"/>
                </a:solidFill>
                <a:latin typeface="Arial"/>
              </a:rPr>
              <a:t>y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consultant</a:t>
            </a:r>
            <a:r>
              <a:rPr lang="fr-FR" sz="1802" b="1" i="0" spc="521" baseline="0" dirty="0">
                <a:solidFill>
                  <a:srgbClr val="466CAD"/>
                </a:solidFill>
                <a:latin typeface="Arial"/>
              </a:rPr>
              <a:t>s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(vs. H</a:t>
            </a:r>
            <a:r>
              <a:rPr lang="fr-FR" sz="1802" b="0" i="0" spc="513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manager)</a:t>
            </a:r>
          </a:p>
        </p:txBody>
      </p:sp>
      <p:sp>
        <p:nvSpPr>
          <p:cNvPr id="562" name="Rectangle 562"/>
          <p:cNvSpPr/>
          <p:nvPr/>
        </p:nvSpPr>
        <p:spPr>
          <a:xfrm>
            <a:off x="1273175" y="5960654"/>
            <a:ext cx="3251405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Par</a:t>
            </a:r>
            <a:r>
              <a:rPr lang="fr-FR" sz="1802" b="0" i="0" spc="502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802" b="0" i="0" spc="508" baseline="0" dirty="0">
                <a:solidFill>
                  <a:srgbClr val="555555"/>
                </a:solidFill>
                <a:latin typeface="Arial"/>
              </a:rPr>
              <a:t>f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th</a:t>
            </a:r>
            <a:r>
              <a:rPr lang="fr-FR" sz="1802" b="0" i="0" spc="487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interview</a:t>
            </a:r>
            <a:r>
              <a:rPr lang="fr-FR" sz="1802" b="0" i="0" spc="588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i</a:t>
            </a:r>
            <a:r>
              <a:rPr lang="fr-FR" sz="1802" b="0" i="0" spc="502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English</a:t>
            </a:r>
          </a:p>
        </p:txBody>
      </p:sp>
      <p:sp>
        <p:nvSpPr>
          <p:cNvPr id="563" name="Rectangle 563"/>
          <p:cNvSpPr/>
          <p:nvPr/>
        </p:nvSpPr>
        <p:spPr>
          <a:xfrm>
            <a:off x="1250314" y="2067152"/>
            <a:ext cx="5571491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Resum</a:t>
            </a:r>
            <a:r>
              <a:rPr lang="fr-FR" sz="1802" b="1" i="0" spc="477" baseline="0" dirty="0">
                <a:solidFill>
                  <a:srgbClr val="466CAD"/>
                </a:solidFill>
                <a:latin typeface="Arial"/>
              </a:rPr>
              <a:t>e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screenin</a:t>
            </a:r>
            <a:r>
              <a:rPr lang="fr-FR" sz="1802" b="1" i="0" spc="500" baseline="0" dirty="0">
                <a:solidFill>
                  <a:srgbClr val="466CAD"/>
                </a:solidFill>
                <a:latin typeface="Arial"/>
              </a:rPr>
              <a:t>g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by H</a:t>
            </a:r>
            <a:r>
              <a:rPr lang="fr-FR" sz="1802" b="1" i="0" spc="505" baseline="0" dirty="0">
                <a:solidFill>
                  <a:srgbClr val="466CAD"/>
                </a:solidFill>
                <a:latin typeface="Arial"/>
              </a:rPr>
              <a:t>R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(an</a:t>
            </a:r>
            <a:r>
              <a:rPr lang="fr-FR" sz="1802" b="1" i="0" spc="498" baseline="0" dirty="0">
                <a:solidFill>
                  <a:srgbClr val="466CAD"/>
                </a:solidFill>
                <a:latin typeface="Arial"/>
              </a:rPr>
              <a:t>d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no</a:t>
            </a:r>
            <a:r>
              <a:rPr lang="fr-FR" sz="1802" b="1" i="0" spc="513" baseline="0" dirty="0">
                <a:solidFill>
                  <a:srgbClr val="466CAD"/>
                </a:solidFill>
                <a:latin typeface="Arial"/>
              </a:rPr>
              <a:t>t</a:t>
            </a:r>
            <a:r>
              <a:rPr lang="fr-FR" sz="1802" b="1" i="0" spc="0" baseline="0" dirty="0">
                <a:solidFill>
                  <a:srgbClr val="466CAD"/>
                </a:solidFill>
                <a:latin typeface="Arial"/>
              </a:rPr>
              <a:t>by Consultants!)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" name="Freeform 56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65" name="Freeform 565"/>
          <p:cNvSpPr/>
          <p:nvPr/>
        </p:nvSpPr>
        <p:spPr>
          <a:xfrm>
            <a:off x="666750" y="1685914"/>
            <a:ext cx="1542669" cy="56908"/>
          </a:xfrm>
          <a:custGeom>
            <a:avLst/>
            <a:gdLst/>
            <a:ahLst/>
            <a:cxnLst/>
            <a:rect l="0" t="0" r="0" b="0"/>
            <a:pathLst>
              <a:path w="1542669" h="56908">
                <a:moveTo>
                  <a:pt x="0" y="56908"/>
                </a:moveTo>
                <a:lnTo>
                  <a:pt x="1542669" y="56908"/>
                </a:lnTo>
                <a:lnTo>
                  <a:pt x="1542669" y="0"/>
                </a:lnTo>
                <a:lnTo>
                  <a:pt x="0" y="0"/>
                </a:lnTo>
                <a:lnTo>
                  <a:pt x="0" y="56908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66" name="Freeform 566"/>
          <p:cNvSpPr/>
          <p:nvPr/>
        </p:nvSpPr>
        <p:spPr>
          <a:xfrm>
            <a:off x="671512" y="1690740"/>
            <a:ext cx="1542669" cy="56907"/>
          </a:xfrm>
          <a:custGeom>
            <a:avLst/>
            <a:gdLst/>
            <a:ahLst/>
            <a:cxnLst/>
            <a:rect l="0" t="0" r="0" b="0"/>
            <a:pathLst>
              <a:path w="1542669" h="56907">
                <a:moveTo>
                  <a:pt x="0" y="56907"/>
                </a:moveTo>
                <a:lnTo>
                  <a:pt x="1542669" y="56907"/>
                </a:lnTo>
                <a:lnTo>
                  <a:pt x="1542669" y="0"/>
                </a:lnTo>
                <a:lnTo>
                  <a:pt x="0" y="0"/>
                </a:lnTo>
                <a:lnTo>
                  <a:pt x="0" y="56907"/>
                </a:lnTo>
                <a:close/>
              </a:path>
            </a:pathLst>
          </a:custGeom>
          <a:noFill/>
          <a:ln w="10667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567" name="Picture 567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620000" y="0"/>
            <a:ext cx="4572000" cy="6858000"/>
          </a:xfrm>
          <a:prstGeom prst="rect">
            <a:avLst/>
          </a:prstGeom>
          <a:noFill/>
        </p:spPr>
      </p:pic>
      <p:pic>
        <p:nvPicPr>
          <p:cNvPr id="568" name="Picture 568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9925050" y="209550"/>
            <a:ext cx="2066925" cy="2200275"/>
          </a:xfrm>
          <a:prstGeom prst="rect">
            <a:avLst/>
          </a:prstGeom>
          <a:noFill/>
        </p:spPr>
      </p:pic>
      <p:sp>
        <p:nvSpPr>
          <p:cNvPr id="569" name="Freeform 569"/>
          <p:cNvSpPr/>
          <p:nvPr/>
        </p:nvSpPr>
        <p:spPr>
          <a:xfrm>
            <a:off x="2405126" y="3052827"/>
            <a:ext cx="1952116" cy="447547"/>
          </a:xfrm>
          <a:custGeom>
            <a:avLst/>
            <a:gdLst/>
            <a:ahLst/>
            <a:cxnLst/>
            <a:rect l="0" t="0" r="0" b="0"/>
            <a:pathLst>
              <a:path w="1952116" h="447547">
                <a:moveTo>
                  <a:pt x="0" y="0"/>
                </a:moveTo>
                <a:lnTo>
                  <a:pt x="1952116" y="447547"/>
                </a:lnTo>
              </a:path>
            </a:pathLst>
          </a:custGeom>
          <a:noFill/>
          <a:ln w="9144" cap="flat" cmpd="sng">
            <a:solidFill>
              <a:srgbClr val="9B9B9B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70" name="Freeform 570"/>
          <p:cNvSpPr/>
          <p:nvPr/>
        </p:nvSpPr>
        <p:spPr>
          <a:xfrm>
            <a:off x="4352925" y="2295525"/>
            <a:ext cx="2390267" cy="2390268"/>
          </a:xfrm>
          <a:custGeom>
            <a:avLst/>
            <a:gdLst/>
            <a:ahLst/>
            <a:cxnLst/>
            <a:rect l="0" t="0" r="0" b="0"/>
            <a:pathLst>
              <a:path w="2390267" h="2390268">
                <a:moveTo>
                  <a:pt x="1195070" y="0"/>
                </a:moveTo>
                <a:lnTo>
                  <a:pt x="1147064" y="890"/>
                </a:lnTo>
                <a:lnTo>
                  <a:pt x="1099439" y="3810"/>
                </a:lnTo>
                <a:lnTo>
                  <a:pt x="1052448" y="8383"/>
                </a:lnTo>
                <a:lnTo>
                  <a:pt x="1005840" y="14860"/>
                </a:lnTo>
                <a:lnTo>
                  <a:pt x="959992" y="23115"/>
                </a:lnTo>
                <a:lnTo>
                  <a:pt x="914653" y="33147"/>
                </a:lnTo>
                <a:lnTo>
                  <a:pt x="870077" y="44704"/>
                </a:lnTo>
                <a:lnTo>
                  <a:pt x="826134" y="58040"/>
                </a:lnTo>
                <a:lnTo>
                  <a:pt x="782828" y="73025"/>
                </a:lnTo>
                <a:lnTo>
                  <a:pt x="740409" y="89535"/>
                </a:lnTo>
                <a:lnTo>
                  <a:pt x="698753" y="107570"/>
                </a:lnTo>
                <a:lnTo>
                  <a:pt x="657986" y="127254"/>
                </a:lnTo>
                <a:lnTo>
                  <a:pt x="617982" y="148336"/>
                </a:lnTo>
                <a:lnTo>
                  <a:pt x="578992" y="170816"/>
                </a:lnTo>
                <a:lnTo>
                  <a:pt x="540892" y="194818"/>
                </a:lnTo>
                <a:lnTo>
                  <a:pt x="503809" y="220091"/>
                </a:lnTo>
                <a:lnTo>
                  <a:pt x="467740" y="246761"/>
                </a:lnTo>
                <a:lnTo>
                  <a:pt x="432815" y="274702"/>
                </a:lnTo>
                <a:lnTo>
                  <a:pt x="398779" y="303911"/>
                </a:lnTo>
                <a:lnTo>
                  <a:pt x="366014" y="334391"/>
                </a:lnTo>
                <a:lnTo>
                  <a:pt x="334390" y="366015"/>
                </a:lnTo>
                <a:lnTo>
                  <a:pt x="303910" y="398780"/>
                </a:lnTo>
                <a:lnTo>
                  <a:pt x="274701" y="432816"/>
                </a:lnTo>
                <a:lnTo>
                  <a:pt x="246760" y="467741"/>
                </a:lnTo>
                <a:lnTo>
                  <a:pt x="220090" y="503810"/>
                </a:lnTo>
                <a:lnTo>
                  <a:pt x="194817" y="540893"/>
                </a:lnTo>
                <a:lnTo>
                  <a:pt x="170815" y="578993"/>
                </a:lnTo>
                <a:lnTo>
                  <a:pt x="148335" y="617983"/>
                </a:lnTo>
                <a:lnTo>
                  <a:pt x="127253" y="657987"/>
                </a:lnTo>
                <a:lnTo>
                  <a:pt x="107569" y="698754"/>
                </a:lnTo>
                <a:lnTo>
                  <a:pt x="89534" y="740410"/>
                </a:lnTo>
                <a:lnTo>
                  <a:pt x="73025" y="782829"/>
                </a:lnTo>
                <a:lnTo>
                  <a:pt x="58039" y="826135"/>
                </a:lnTo>
                <a:lnTo>
                  <a:pt x="44703" y="870078"/>
                </a:lnTo>
                <a:lnTo>
                  <a:pt x="33146" y="914654"/>
                </a:lnTo>
                <a:lnTo>
                  <a:pt x="23114" y="959993"/>
                </a:lnTo>
                <a:lnTo>
                  <a:pt x="14859" y="1005841"/>
                </a:lnTo>
                <a:lnTo>
                  <a:pt x="8382" y="1052449"/>
                </a:lnTo>
                <a:lnTo>
                  <a:pt x="3809" y="1099440"/>
                </a:lnTo>
                <a:lnTo>
                  <a:pt x="889" y="1147065"/>
                </a:lnTo>
                <a:lnTo>
                  <a:pt x="0" y="1195071"/>
                </a:lnTo>
                <a:lnTo>
                  <a:pt x="889" y="1243204"/>
                </a:lnTo>
                <a:lnTo>
                  <a:pt x="3809" y="1290829"/>
                </a:lnTo>
                <a:lnTo>
                  <a:pt x="8382" y="1337818"/>
                </a:lnTo>
                <a:lnTo>
                  <a:pt x="14859" y="1384427"/>
                </a:lnTo>
                <a:lnTo>
                  <a:pt x="23114" y="1430274"/>
                </a:lnTo>
                <a:lnTo>
                  <a:pt x="33146" y="1475614"/>
                </a:lnTo>
                <a:lnTo>
                  <a:pt x="44703" y="1520190"/>
                </a:lnTo>
                <a:lnTo>
                  <a:pt x="58039" y="1564133"/>
                </a:lnTo>
                <a:lnTo>
                  <a:pt x="73025" y="1607440"/>
                </a:lnTo>
                <a:lnTo>
                  <a:pt x="89534" y="1649858"/>
                </a:lnTo>
                <a:lnTo>
                  <a:pt x="107569" y="1691514"/>
                </a:lnTo>
                <a:lnTo>
                  <a:pt x="127253" y="1732280"/>
                </a:lnTo>
                <a:lnTo>
                  <a:pt x="148335" y="1772286"/>
                </a:lnTo>
                <a:lnTo>
                  <a:pt x="170815" y="1811274"/>
                </a:lnTo>
                <a:lnTo>
                  <a:pt x="194817" y="1849374"/>
                </a:lnTo>
                <a:lnTo>
                  <a:pt x="220090" y="1886458"/>
                </a:lnTo>
                <a:lnTo>
                  <a:pt x="246760" y="1922527"/>
                </a:lnTo>
                <a:lnTo>
                  <a:pt x="274701" y="1957452"/>
                </a:lnTo>
                <a:lnTo>
                  <a:pt x="303910" y="1991487"/>
                </a:lnTo>
                <a:lnTo>
                  <a:pt x="334390" y="2024253"/>
                </a:lnTo>
                <a:lnTo>
                  <a:pt x="366014" y="2055877"/>
                </a:lnTo>
                <a:lnTo>
                  <a:pt x="398779" y="2086356"/>
                </a:lnTo>
                <a:lnTo>
                  <a:pt x="432815" y="2115567"/>
                </a:lnTo>
                <a:lnTo>
                  <a:pt x="467740" y="2143506"/>
                </a:lnTo>
                <a:lnTo>
                  <a:pt x="503809" y="2170177"/>
                </a:lnTo>
                <a:lnTo>
                  <a:pt x="540892" y="2195449"/>
                </a:lnTo>
                <a:lnTo>
                  <a:pt x="578992" y="2219452"/>
                </a:lnTo>
                <a:lnTo>
                  <a:pt x="617982" y="2241931"/>
                </a:lnTo>
                <a:lnTo>
                  <a:pt x="657986" y="2263014"/>
                </a:lnTo>
                <a:lnTo>
                  <a:pt x="698753" y="2282699"/>
                </a:lnTo>
                <a:lnTo>
                  <a:pt x="740409" y="2300733"/>
                </a:lnTo>
                <a:lnTo>
                  <a:pt x="782828" y="2317243"/>
                </a:lnTo>
                <a:lnTo>
                  <a:pt x="826134" y="2332228"/>
                </a:lnTo>
                <a:lnTo>
                  <a:pt x="870077" y="2345564"/>
                </a:lnTo>
                <a:lnTo>
                  <a:pt x="914653" y="2357121"/>
                </a:lnTo>
                <a:lnTo>
                  <a:pt x="959992" y="2367153"/>
                </a:lnTo>
                <a:lnTo>
                  <a:pt x="1005840" y="2375408"/>
                </a:lnTo>
                <a:lnTo>
                  <a:pt x="1052448" y="2381886"/>
                </a:lnTo>
                <a:lnTo>
                  <a:pt x="1099439" y="2386458"/>
                </a:lnTo>
                <a:lnTo>
                  <a:pt x="1147064" y="2389378"/>
                </a:lnTo>
                <a:lnTo>
                  <a:pt x="1195070" y="2390268"/>
                </a:lnTo>
                <a:lnTo>
                  <a:pt x="1243203" y="2389378"/>
                </a:lnTo>
                <a:lnTo>
                  <a:pt x="1290828" y="2386458"/>
                </a:lnTo>
                <a:lnTo>
                  <a:pt x="1337817" y="2381886"/>
                </a:lnTo>
                <a:lnTo>
                  <a:pt x="1384427" y="2375408"/>
                </a:lnTo>
                <a:lnTo>
                  <a:pt x="1430273" y="2367153"/>
                </a:lnTo>
                <a:lnTo>
                  <a:pt x="1475613" y="2357121"/>
                </a:lnTo>
                <a:lnTo>
                  <a:pt x="1520190" y="2345564"/>
                </a:lnTo>
                <a:lnTo>
                  <a:pt x="1564132" y="2332228"/>
                </a:lnTo>
                <a:lnTo>
                  <a:pt x="1607439" y="2317243"/>
                </a:lnTo>
                <a:lnTo>
                  <a:pt x="1649857" y="2300733"/>
                </a:lnTo>
                <a:lnTo>
                  <a:pt x="1691513" y="2282699"/>
                </a:lnTo>
                <a:lnTo>
                  <a:pt x="1732279" y="2263014"/>
                </a:lnTo>
                <a:lnTo>
                  <a:pt x="1772284" y="2241931"/>
                </a:lnTo>
                <a:lnTo>
                  <a:pt x="1811273" y="2219452"/>
                </a:lnTo>
                <a:lnTo>
                  <a:pt x="1849373" y="2195449"/>
                </a:lnTo>
                <a:lnTo>
                  <a:pt x="1886458" y="2170177"/>
                </a:lnTo>
                <a:lnTo>
                  <a:pt x="1922526" y="2143506"/>
                </a:lnTo>
                <a:lnTo>
                  <a:pt x="1957451" y="2115567"/>
                </a:lnTo>
                <a:lnTo>
                  <a:pt x="1991486" y="2086356"/>
                </a:lnTo>
                <a:lnTo>
                  <a:pt x="2024253" y="2055877"/>
                </a:lnTo>
                <a:lnTo>
                  <a:pt x="2055876" y="2024253"/>
                </a:lnTo>
                <a:lnTo>
                  <a:pt x="2086355" y="1991487"/>
                </a:lnTo>
                <a:lnTo>
                  <a:pt x="2115565" y="1957452"/>
                </a:lnTo>
                <a:lnTo>
                  <a:pt x="2143505" y="1922527"/>
                </a:lnTo>
                <a:lnTo>
                  <a:pt x="2170176" y="1886458"/>
                </a:lnTo>
                <a:lnTo>
                  <a:pt x="2195448" y="1849374"/>
                </a:lnTo>
                <a:lnTo>
                  <a:pt x="2219452" y="1811274"/>
                </a:lnTo>
                <a:lnTo>
                  <a:pt x="2241931" y="1772286"/>
                </a:lnTo>
                <a:lnTo>
                  <a:pt x="2263013" y="1732280"/>
                </a:lnTo>
                <a:lnTo>
                  <a:pt x="2282697" y="1691514"/>
                </a:lnTo>
                <a:lnTo>
                  <a:pt x="2300731" y="1649858"/>
                </a:lnTo>
                <a:lnTo>
                  <a:pt x="2317242" y="1607440"/>
                </a:lnTo>
                <a:lnTo>
                  <a:pt x="2332228" y="1564133"/>
                </a:lnTo>
                <a:lnTo>
                  <a:pt x="2345563" y="1520190"/>
                </a:lnTo>
                <a:lnTo>
                  <a:pt x="2357119" y="1475614"/>
                </a:lnTo>
                <a:lnTo>
                  <a:pt x="2367153" y="1430274"/>
                </a:lnTo>
                <a:lnTo>
                  <a:pt x="2375407" y="1384427"/>
                </a:lnTo>
                <a:lnTo>
                  <a:pt x="2381884" y="1337818"/>
                </a:lnTo>
                <a:lnTo>
                  <a:pt x="2386456" y="1290829"/>
                </a:lnTo>
                <a:lnTo>
                  <a:pt x="2389378" y="1243204"/>
                </a:lnTo>
                <a:lnTo>
                  <a:pt x="2390267" y="1195071"/>
                </a:lnTo>
                <a:lnTo>
                  <a:pt x="2389378" y="1147065"/>
                </a:lnTo>
                <a:lnTo>
                  <a:pt x="2386456" y="1099440"/>
                </a:lnTo>
                <a:lnTo>
                  <a:pt x="2381884" y="1052449"/>
                </a:lnTo>
                <a:lnTo>
                  <a:pt x="2375407" y="1005841"/>
                </a:lnTo>
                <a:lnTo>
                  <a:pt x="2367153" y="959993"/>
                </a:lnTo>
                <a:lnTo>
                  <a:pt x="2357119" y="914654"/>
                </a:lnTo>
                <a:lnTo>
                  <a:pt x="2345563" y="870078"/>
                </a:lnTo>
                <a:lnTo>
                  <a:pt x="2332228" y="826135"/>
                </a:lnTo>
                <a:lnTo>
                  <a:pt x="2317242" y="782829"/>
                </a:lnTo>
                <a:lnTo>
                  <a:pt x="2300731" y="740410"/>
                </a:lnTo>
                <a:lnTo>
                  <a:pt x="2282697" y="698754"/>
                </a:lnTo>
                <a:lnTo>
                  <a:pt x="2263013" y="657987"/>
                </a:lnTo>
                <a:lnTo>
                  <a:pt x="2241931" y="617983"/>
                </a:lnTo>
                <a:lnTo>
                  <a:pt x="2219452" y="578993"/>
                </a:lnTo>
                <a:lnTo>
                  <a:pt x="2195448" y="540893"/>
                </a:lnTo>
                <a:lnTo>
                  <a:pt x="2170176" y="503810"/>
                </a:lnTo>
                <a:lnTo>
                  <a:pt x="2143505" y="467741"/>
                </a:lnTo>
                <a:lnTo>
                  <a:pt x="2115565" y="432816"/>
                </a:lnTo>
                <a:lnTo>
                  <a:pt x="2086355" y="398780"/>
                </a:lnTo>
                <a:lnTo>
                  <a:pt x="2055876" y="366015"/>
                </a:lnTo>
                <a:lnTo>
                  <a:pt x="2024253" y="334391"/>
                </a:lnTo>
                <a:lnTo>
                  <a:pt x="1991486" y="303911"/>
                </a:lnTo>
                <a:lnTo>
                  <a:pt x="1957451" y="274702"/>
                </a:lnTo>
                <a:lnTo>
                  <a:pt x="1922526" y="246761"/>
                </a:lnTo>
                <a:lnTo>
                  <a:pt x="1886458" y="220091"/>
                </a:lnTo>
                <a:lnTo>
                  <a:pt x="1849373" y="194818"/>
                </a:lnTo>
                <a:lnTo>
                  <a:pt x="1811273" y="170816"/>
                </a:lnTo>
                <a:lnTo>
                  <a:pt x="1772284" y="148336"/>
                </a:lnTo>
                <a:lnTo>
                  <a:pt x="1732279" y="127254"/>
                </a:lnTo>
                <a:lnTo>
                  <a:pt x="1691513" y="107570"/>
                </a:lnTo>
                <a:lnTo>
                  <a:pt x="1649857" y="89535"/>
                </a:lnTo>
                <a:lnTo>
                  <a:pt x="1607439" y="73025"/>
                </a:lnTo>
                <a:lnTo>
                  <a:pt x="1564132" y="58040"/>
                </a:lnTo>
                <a:lnTo>
                  <a:pt x="1520190" y="44704"/>
                </a:lnTo>
                <a:lnTo>
                  <a:pt x="1475613" y="33147"/>
                </a:lnTo>
                <a:lnTo>
                  <a:pt x="1430273" y="23115"/>
                </a:lnTo>
                <a:lnTo>
                  <a:pt x="1384427" y="14860"/>
                </a:lnTo>
                <a:lnTo>
                  <a:pt x="1337817" y="8383"/>
                </a:lnTo>
                <a:lnTo>
                  <a:pt x="1290828" y="3810"/>
                </a:lnTo>
                <a:lnTo>
                  <a:pt x="1243203" y="890"/>
                </a:lnTo>
                <a:lnTo>
                  <a:pt x="1195070" y="0"/>
                </a:lnTo>
                <a:close/>
                <a:moveTo>
                  <a:pt x="209550" y="4562475"/>
                </a:moveTo>
              </a:path>
            </a:pathLst>
          </a:custGeom>
          <a:solidFill>
            <a:srgbClr val="3660A1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71" name="Freeform 571"/>
          <p:cNvSpPr/>
          <p:nvPr/>
        </p:nvSpPr>
        <p:spPr>
          <a:xfrm>
            <a:off x="1414525" y="3833877"/>
            <a:ext cx="209169" cy="637666"/>
          </a:xfrm>
          <a:custGeom>
            <a:avLst/>
            <a:gdLst/>
            <a:ahLst/>
            <a:cxnLst/>
            <a:rect l="0" t="0" r="0" b="0"/>
            <a:pathLst>
              <a:path w="209169" h="637666">
                <a:moveTo>
                  <a:pt x="0" y="637666"/>
                </a:moveTo>
                <a:lnTo>
                  <a:pt x="209169" y="0"/>
                </a:lnTo>
              </a:path>
            </a:pathLst>
          </a:custGeom>
          <a:noFill/>
          <a:ln w="9144" cap="flat" cmpd="sng">
            <a:solidFill>
              <a:srgbClr val="9B9B9B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72" name="Freeform 572"/>
          <p:cNvSpPr/>
          <p:nvPr/>
        </p:nvSpPr>
        <p:spPr>
          <a:xfrm>
            <a:off x="485775" y="4467225"/>
            <a:ext cx="1838325" cy="1838325"/>
          </a:xfrm>
          <a:custGeom>
            <a:avLst/>
            <a:gdLst/>
            <a:ahLst/>
            <a:cxnLst/>
            <a:rect l="0" t="0" r="0" b="0"/>
            <a:pathLst>
              <a:path w="1838325" h="1838325">
                <a:moveTo>
                  <a:pt x="919099" y="0"/>
                </a:moveTo>
                <a:lnTo>
                  <a:pt x="870330" y="1271"/>
                </a:lnTo>
                <a:lnTo>
                  <a:pt x="822197" y="5080"/>
                </a:lnTo>
                <a:lnTo>
                  <a:pt x="774763" y="11303"/>
                </a:lnTo>
                <a:lnTo>
                  <a:pt x="728141" y="19940"/>
                </a:lnTo>
                <a:lnTo>
                  <a:pt x="682358" y="30734"/>
                </a:lnTo>
                <a:lnTo>
                  <a:pt x="637489" y="43943"/>
                </a:lnTo>
                <a:lnTo>
                  <a:pt x="593610" y="59309"/>
                </a:lnTo>
                <a:lnTo>
                  <a:pt x="550773" y="76836"/>
                </a:lnTo>
                <a:lnTo>
                  <a:pt x="509041" y="96393"/>
                </a:lnTo>
                <a:lnTo>
                  <a:pt x="468490" y="117856"/>
                </a:lnTo>
                <a:lnTo>
                  <a:pt x="429171" y="141352"/>
                </a:lnTo>
                <a:lnTo>
                  <a:pt x="391147" y="166752"/>
                </a:lnTo>
                <a:lnTo>
                  <a:pt x="354482" y="193802"/>
                </a:lnTo>
                <a:lnTo>
                  <a:pt x="319252" y="222758"/>
                </a:lnTo>
                <a:lnTo>
                  <a:pt x="285508" y="253365"/>
                </a:lnTo>
                <a:lnTo>
                  <a:pt x="253314" y="285496"/>
                </a:lnTo>
                <a:lnTo>
                  <a:pt x="222745" y="319278"/>
                </a:lnTo>
                <a:lnTo>
                  <a:pt x="193852" y="354458"/>
                </a:lnTo>
                <a:lnTo>
                  <a:pt x="166700" y="391161"/>
                </a:lnTo>
                <a:lnTo>
                  <a:pt x="141351" y="429133"/>
                </a:lnTo>
                <a:lnTo>
                  <a:pt x="117881" y="468503"/>
                </a:lnTo>
                <a:lnTo>
                  <a:pt x="96342" y="509017"/>
                </a:lnTo>
                <a:lnTo>
                  <a:pt x="76796" y="550799"/>
                </a:lnTo>
                <a:lnTo>
                  <a:pt x="59321" y="593599"/>
                </a:lnTo>
                <a:lnTo>
                  <a:pt x="43954" y="637540"/>
                </a:lnTo>
                <a:lnTo>
                  <a:pt x="30797" y="682371"/>
                </a:lnTo>
                <a:lnTo>
                  <a:pt x="19875" y="728092"/>
                </a:lnTo>
                <a:lnTo>
                  <a:pt x="11277" y="774828"/>
                </a:lnTo>
                <a:lnTo>
                  <a:pt x="5054" y="822198"/>
                </a:lnTo>
                <a:lnTo>
                  <a:pt x="1269" y="870331"/>
                </a:lnTo>
                <a:lnTo>
                  <a:pt x="0" y="919100"/>
                </a:lnTo>
                <a:lnTo>
                  <a:pt x="1269" y="967995"/>
                </a:lnTo>
                <a:lnTo>
                  <a:pt x="5054" y="1016128"/>
                </a:lnTo>
                <a:lnTo>
                  <a:pt x="11277" y="1063498"/>
                </a:lnTo>
                <a:lnTo>
                  <a:pt x="19875" y="1110234"/>
                </a:lnTo>
                <a:lnTo>
                  <a:pt x="30797" y="1155967"/>
                </a:lnTo>
                <a:lnTo>
                  <a:pt x="43954" y="1200836"/>
                </a:lnTo>
                <a:lnTo>
                  <a:pt x="59321" y="1244715"/>
                </a:lnTo>
                <a:lnTo>
                  <a:pt x="76796" y="1287552"/>
                </a:lnTo>
                <a:lnTo>
                  <a:pt x="96342" y="1329271"/>
                </a:lnTo>
                <a:lnTo>
                  <a:pt x="117881" y="1369835"/>
                </a:lnTo>
                <a:lnTo>
                  <a:pt x="141351" y="1409154"/>
                </a:lnTo>
                <a:lnTo>
                  <a:pt x="166700" y="1447178"/>
                </a:lnTo>
                <a:lnTo>
                  <a:pt x="193852" y="1483830"/>
                </a:lnTo>
                <a:lnTo>
                  <a:pt x="222745" y="1519073"/>
                </a:lnTo>
                <a:lnTo>
                  <a:pt x="253314" y="1552817"/>
                </a:lnTo>
                <a:lnTo>
                  <a:pt x="285508" y="1584999"/>
                </a:lnTo>
                <a:lnTo>
                  <a:pt x="319252" y="1615580"/>
                </a:lnTo>
                <a:lnTo>
                  <a:pt x="354482" y="1644473"/>
                </a:lnTo>
                <a:lnTo>
                  <a:pt x="391147" y="1671625"/>
                </a:lnTo>
                <a:lnTo>
                  <a:pt x="429171" y="1696974"/>
                </a:lnTo>
                <a:lnTo>
                  <a:pt x="468490" y="1720444"/>
                </a:lnTo>
                <a:lnTo>
                  <a:pt x="509041" y="1741983"/>
                </a:lnTo>
                <a:lnTo>
                  <a:pt x="550773" y="1761529"/>
                </a:lnTo>
                <a:lnTo>
                  <a:pt x="593610" y="1779004"/>
                </a:lnTo>
                <a:lnTo>
                  <a:pt x="637489" y="1794358"/>
                </a:lnTo>
                <a:lnTo>
                  <a:pt x="682358" y="1807528"/>
                </a:lnTo>
                <a:lnTo>
                  <a:pt x="728141" y="1818450"/>
                </a:lnTo>
                <a:lnTo>
                  <a:pt x="774763" y="1827048"/>
                </a:lnTo>
                <a:lnTo>
                  <a:pt x="822197" y="1833271"/>
                </a:lnTo>
                <a:lnTo>
                  <a:pt x="870330" y="1837056"/>
                </a:lnTo>
                <a:lnTo>
                  <a:pt x="919099" y="1838325"/>
                </a:lnTo>
                <a:lnTo>
                  <a:pt x="967994" y="1837056"/>
                </a:lnTo>
                <a:lnTo>
                  <a:pt x="1016127" y="1833271"/>
                </a:lnTo>
                <a:lnTo>
                  <a:pt x="1063497" y="1827048"/>
                </a:lnTo>
                <a:lnTo>
                  <a:pt x="1110233" y="1818450"/>
                </a:lnTo>
                <a:lnTo>
                  <a:pt x="1155954" y="1807528"/>
                </a:lnTo>
                <a:lnTo>
                  <a:pt x="1200785" y="1794358"/>
                </a:lnTo>
                <a:lnTo>
                  <a:pt x="1244726" y="1779004"/>
                </a:lnTo>
                <a:lnTo>
                  <a:pt x="1287526" y="1761529"/>
                </a:lnTo>
                <a:lnTo>
                  <a:pt x="1329308" y="1741983"/>
                </a:lnTo>
                <a:lnTo>
                  <a:pt x="1369822" y="1720444"/>
                </a:lnTo>
                <a:lnTo>
                  <a:pt x="1409192" y="1696974"/>
                </a:lnTo>
                <a:lnTo>
                  <a:pt x="1447164" y="1671625"/>
                </a:lnTo>
                <a:lnTo>
                  <a:pt x="1483867" y="1644473"/>
                </a:lnTo>
                <a:lnTo>
                  <a:pt x="1519047" y="1615580"/>
                </a:lnTo>
                <a:lnTo>
                  <a:pt x="1552829" y="1584999"/>
                </a:lnTo>
                <a:lnTo>
                  <a:pt x="1584960" y="1552817"/>
                </a:lnTo>
                <a:lnTo>
                  <a:pt x="1615567" y="1519073"/>
                </a:lnTo>
                <a:lnTo>
                  <a:pt x="1644523" y="1483830"/>
                </a:lnTo>
                <a:lnTo>
                  <a:pt x="1671573" y="1447178"/>
                </a:lnTo>
                <a:lnTo>
                  <a:pt x="1696973" y="1409154"/>
                </a:lnTo>
                <a:lnTo>
                  <a:pt x="1720469" y="1369835"/>
                </a:lnTo>
                <a:lnTo>
                  <a:pt x="1741932" y="1329271"/>
                </a:lnTo>
                <a:lnTo>
                  <a:pt x="1761489" y="1287552"/>
                </a:lnTo>
                <a:lnTo>
                  <a:pt x="1779016" y="1244715"/>
                </a:lnTo>
                <a:lnTo>
                  <a:pt x="1794382" y="1200836"/>
                </a:lnTo>
                <a:lnTo>
                  <a:pt x="1807591" y="1155967"/>
                </a:lnTo>
                <a:lnTo>
                  <a:pt x="1818385" y="1110234"/>
                </a:lnTo>
                <a:lnTo>
                  <a:pt x="1827022" y="1063498"/>
                </a:lnTo>
                <a:lnTo>
                  <a:pt x="1833245" y="1016128"/>
                </a:lnTo>
                <a:lnTo>
                  <a:pt x="1837054" y="967995"/>
                </a:lnTo>
                <a:lnTo>
                  <a:pt x="1838325" y="919100"/>
                </a:lnTo>
                <a:lnTo>
                  <a:pt x="1837054" y="870331"/>
                </a:lnTo>
                <a:lnTo>
                  <a:pt x="1833245" y="822198"/>
                </a:lnTo>
                <a:lnTo>
                  <a:pt x="1827022" y="774828"/>
                </a:lnTo>
                <a:lnTo>
                  <a:pt x="1818385" y="728092"/>
                </a:lnTo>
                <a:lnTo>
                  <a:pt x="1807591" y="682371"/>
                </a:lnTo>
                <a:lnTo>
                  <a:pt x="1794382" y="637540"/>
                </a:lnTo>
                <a:lnTo>
                  <a:pt x="1779016" y="593599"/>
                </a:lnTo>
                <a:lnTo>
                  <a:pt x="1761489" y="550799"/>
                </a:lnTo>
                <a:lnTo>
                  <a:pt x="1741932" y="509017"/>
                </a:lnTo>
                <a:lnTo>
                  <a:pt x="1720469" y="468503"/>
                </a:lnTo>
                <a:lnTo>
                  <a:pt x="1696973" y="429133"/>
                </a:lnTo>
                <a:lnTo>
                  <a:pt x="1671573" y="391161"/>
                </a:lnTo>
                <a:lnTo>
                  <a:pt x="1644523" y="354458"/>
                </a:lnTo>
                <a:lnTo>
                  <a:pt x="1615567" y="319278"/>
                </a:lnTo>
                <a:lnTo>
                  <a:pt x="1584960" y="285496"/>
                </a:lnTo>
                <a:lnTo>
                  <a:pt x="1552829" y="253365"/>
                </a:lnTo>
                <a:lnTo>
                  <a:pt x="1519047" y="222758"/>
                </a:lnTo>
                <a:lnTo>
                  <a:pt x="1483867" y="193802"/>
                </a:lnTo>
                <a:lnTo>
                  <a:pt x="1447164" y="166752"/>
                </a:lnTo>
                <a:lnTo>
                  <a:pt x="1409192" y="141352"/>
                </a:lnTo>
                <a:lnTo>
                  <a:pt x="1369822" y="117856"/>
                </a:lnTo>
                <a:lnTo>
                  <a:pt x="1329308" y="96393"/>
                </a:lnTo>
                <a:lnTo>
                  <a:pt x="1287526" y="76836"/>
                </a:lnTo>
                <a:lnTo>
                  <a:pt x="1244726" y="59309"/>
                </a:lnTo>
                <a:lnTo>
                  <a:pt x="1200785" y="43943"/>
                </a:lnTo>
                <a:lnTo>
                  <a:pt x="1155954" y="30734"/>
                </a:lnTo>
                <a:lnTo>
                  <a:pt x="1110233" y="19940"/>
                </a:lnTo>
                <a:lnTo>
                  <a:pt x="1063497" y="11303"/>
                </a:lnTo>
                <a:lnTo>
                  <a:pt x="1016127" y="5080"/>
                </a:lnTo>
                <a:lnTo>
                  <a:pt x="967994" y="1271"/>
                </a:lnTo>
                <a:lnTo>
                  <a:pt x="919099" y="0"/>
                </a:lnTo>
                <a:close/>
                <a:moveTo>
                  <a:pt x="1905000" y="2390775"/>
                </a:moveTo>
              </a:path>
            </a:pathLst>
          </a:custGeom>
          <a:solidFill>
            <a:srgbClr val="3660A1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73" name="Freeform 573"/>
          <p:cNvSpPr/>
          <p:nvPr/>
        </p:nvSpPr>
        <p:spPr>
          <a:xfrm>
            <a:off x="828675" y="2266950"/>
            <a:ext cx="1571370" cy="1561846"/>
          </a:xfrm>
          <a:custGeom>
            <a:avLst/>
            <a:gdLst/>
            <a:ahLst/>
            <a:cxnLst/>
            <a:rect l="0" t="0" r="0" b="0"/>
            <a:pathLst>
              <a:path w="1571370" h="1561846">
                <a:moveTo>
                  <a:pt x="785622" y="0"/>
                </a:moveTo>
                <a:lnTo>
                  <a:pt x="737869" y="1397"/>
                </a:lnTo>
                <a:lnTo>
                  <a:pt x="690752" y="5589"/>
                </a:lnTo>
                <a:lnTo>
                  <a:pt x="644397" y="12573"/>
                </a:lnTo>
                <a:lnTo>
                  <a:pt x="599058" y="22098"/>
                </a:lnTo>
                <a:lnTo>
                  <a:pt x="554736" y="34291"/>
                </a:lnTo>
                <a:lnTo>
                  <a:pt x="511555" y="48896"/>
                </a:lnTo>
                <a:lnTo>
                  <a:pt x="469391" y="65786"/>
                </a:lnTo>
                <a:lnTo>
                  <a:pt x="428625" y="85091"/>
                </a:lnTo>
                <a:lnTo>
                  <a:pt x="389140" y="106554"/>
                </a:lnTo>
                <a:lnTo>
                  <a:pt x="351053" y="130303"/>
                </a:lnTo>
                <a:lnTo>
                  <a:pt x="314477" y="155956"/>
                </a:lnTo>
                <a:lnTo>
                  <a:pt x="279476" y="183642"/>
                </a:lnTo>
                <a:lnTo>
                  <a:pt x="246138" y="213234"/>
                </a:lnTo>
                <a:lnTo>
                  <a:pt x="214553" y="244603"/>
                </a:lnTo>
                <a:lnTo>
                  <a:pt x="184785" y="277749"/>
                </a:lnTo>
                <a:lnTo>
                  <a:pt x="156921" y="312547"/>
                </a:lnTo>
                <a:lnTo>
                  <a:pt x="131063" y="348870"/>
                </a:lnTo>
                <a:lnTo>
                  <a:pt x="107264" y="386716"/>
                </a:lnTo>
                <a:lnTo>
                  <a:pt x="85636" y="425959"/>
                </a:lnTo>
                <a:lnTo>
                  <a:pt x="66230" y="466598"/>
                </a:lnTo>
                <a:lnTo>
                  <a:pt x="49149" y="508381"/>
                </a:lnTo>
                <a:lnTo>
                  <a:pt x="34480" y="551435"/>
                </a:lnTo>
                <a:lnTo>
                  <a:pt x="22288" y="595504"/>
                </a:lnTo>
                <a:lnTo>
                  <a:pt x="12661" y="640589"/>
                </a:lnTo>
                <a:lnTo>
                  <a:pt x="5676" y="686562"/>
                </a:lnTo>
                <a:lnTo>
                  <a:pt x="1435" y="733298"/>
                </a:lnTo>
                <a:lnTo>
                  <a:pt x="0" y="780923"/>
                </a:lnTo>
                <a:lnTo>
                  <a:pt x="1435" y="828548"/>
                </a:lnTo>
                <a:lnTo>
                  <a:pt x="5676" y="875285"/>
                </a:lnTo>
                <a:lnTo>
                  <a:pt x="12661" y="921259"/>
                </a:lnTo>
                <a:lnTo>
                  <a:pt x="22288" y="966343"/>
                </a:lnTo>
                <a:lnTo>
                  <a:pt x="34480" y="1010412"/>
                </a:lnTo>
                <a:lnTo>
                  <a:pt x="49149" y="1053466"/>
                </a:lnTo>
                <a:lnTo>
                  <a:pt x="66230" y="1095248"/>
                </a:lnTo>
                <a:lnTo>
                  <a:pt x="85636" y="1135889"/>
                </a:lnTo>
                <a:lnTo>
                  <a:pt x="107264" y="1175131"/>
                </a:lnTo>
                <a:lnTo>
                  <a:pt x="131063" y="1212978"/>
                </a:lnTo>
                <a:lnTo>
                  <a:pt x="156921" y="1249299"/>
                </a:lnTo>
                <a:lnTo>
                  <a:pt x="184785" y="1284097"/>
                </a:lnTo>
                <a:lnTo>
                  <a:pt x="214553" y="1317245"/>
                </a:lnTo>
                <a:lnTo>
                  <a:pt x="246138" y="1348614"/>
                </a:lnTo>
                <a:lnTo>
                  <a:pt x="279476" y="1378205"/>
                </a:lnTo>
                <a:lnTo>
                  <a:pt x="314477" y="1405890"/>
                </a:lnTo>
                <a:lnTo>
                  <a:pt x="351053" y="1431545"/>
                </a:lnTo>
                <a:lnTo>
                  <a:pt x="389140" y="1455293"/>
                </a:lnTo>
                <a:lnTo>
                  <a:pt x="428625" y="1476756"/>
                </a:lnTo>
                <a:lnTo>
                  <a:pt x="469391" y="1496061"/>
                </a:lnTo>
                <a:lnTo>
                  <a:pt x="511555" y="1512952"/>
                </a:lnTo>
                <a:lnTo>
                  <a:pt x="554736" y="1527556"/>
                </a:lnTo>
                <a:lnTo>
                  <a:pt x="599058" y="1539749"/>
                </a:lnTo>
                <a:lnTo>
                  <a:pt x="644397" y="1549274"/>
                </a:lnTo>
                <a:lnTo>
                  <a:pt x="690752" y="1556258"/>
                </a:lnTo>
                <a:lnTo>
                  <a:pt x="737869" y="1560449"/>
                </a:lnTo>
                <a:lnTo>
                  <a:pt x="785622" y="1561846"/>
                </a:lnTo>
                <a:lnTo>
                  <a:pt x="833501" y="1560449"/>
                </a:lnTo>
                <a:lnTo>
                  <a:pt x="880617" y="1556258"/>
                </a:lnTo>
                <a:lnTo>
                  <a:pt x="926973" y="1549274"/>
                </a:lnTo>
                <a:lnTo>
                  <a:pt x="972311" y="1539749"/>
                </a:lnTo>
                <a:lnTo>
                  <a:pt x="1016635" y="1527556"/>
                </a:lnTo>
                <a:lnTo>
                  <a:pt x="1059814" y="1512952"/>
                </a:lnTo>
                <a:lnTo>
                  <a:pt x="1101979" y="1496061"/>
                </a:lnTo>
                <a:lnTo>
                  <a:pt x="1142745" y="1476756"/>
                </a:lnTo>
                <a:lnTo>
                  <a:pt x="1182242" y="1455293"/>
                </a:lnTo>
                <a:lnTo>
                  <a:pt x="1220342" y="1431545"/>
                </a:lnTo>
                <a:lnTo>
                  <a:pt x="1256919" y="1405890"/>
                </a:lnTo>
                <a:lnTo>
                  <a:pt x="1291844" y="1378205"/>
                </a:lnTo>
                <a:lnTo>
                  <a:pt x="1325245" y="1348614"/>
                </a:lnTo>
                <a:lnTo>
                  <a:pt x="1356867" y="1317245"/>
                </a:lnTo>
                <a:lnTo>
                  <a:pt x="1386585" y="1284097"/>
                </a:lnTo>
                <a:lnTo>
                  <a:pt x="1414398" y="1249299"/>
                </a:lnTo>
                <a:lnTo>
                  <a:pt x="1440307" y="1212978"/>
                </a:lnTo>
                <a:lnTo>
                  <a:pt x="1464055" y="1175131"/>
                </a:lnTo>
                <a:lnTo>
                  <a:pt x="1485773" y="1135889"/>
                </a:lnTo>
                <a:lnTo>
                  <a:pt x="1505076" y="1095248"/>
                </a:lnTo>
                <a:lnTo>
                  <a:pt x="1522222" y="1053466"/>
                </a:lnTo>
                <a:lnTo>
                  <a:pt x="1536954" y="1010412"/>
                </a:lnTo>
                <a:lnTo>
                  <a:pt x="1549145" y="966343"/>
                </a:lnTo>
                <a:lnTo>
                  <a:pt x="1558670" y="921259"/>
                </a:lnTo>
                <a:lnTo>
                  <a:pt x="1565655" y="875285"/>
                </a:lnTo>
                <a:lnTo>
                  <a:pt x="1569973" y="828548"/>
                </a:lnTo>
                <a:lnTo>
                  <a:pt x="1571370" y="780923"/>
                </a:lnTo>
                <a:lnTo>
                  <a:pt x="1569973" y="733298"/>
                </a:lnTo>
                <a:lnTo>
                  <a:pt x="1565655" y="686562"/>
                </a:lnTo>
                <a:lnTo>
                  <a:pt x="1558670" y="640589"/>
                </a:lnTo>
                <a:lnTo>
                  <a:pt x="1549145" y="595504"/>
                </a:lnTo>
                <a:lnTo>
                  <a:pt x="1536954" y="551435"/>
                </a:lnTo>
                <a:lnTo>
                  <a:pt x="1522222" y="508381"/>
                </a:lnTo>
                <a:lnTo>
                  <a:pt x="1505076" y="466598"/>
                </a:lnTo>
                <a:lnTo>
                  <a:pt x="1485773" y="425959"/>
                </a:lnTo>
                <a:lnTo>
                  <a:pt x="1464055" y="386716"/>
                </a:lnTo>
                <a:lnTo>
                  <a:pt x="1440307" y="348870"/>
                </a:lnTo>
                <a:lnTo>
                  <a:pt x="1414398" y="312547"/>
                </a:lnTo>
                <a:lnTo>
                  <a:pt x="1386585" y="277749"/>
                </a:lnTo>
                <a:lnTo>
                  <a:pt x="1356867" y="244603"/>
                </a:lnTo>
                <a:lnTo>
                  <a:pt x="1325245" y="213234"/>
                </a:lnTo>
                <a:lnTo>
                  <a:pt x="1291844" y="183642"/>
                </a:lnTo>
                <a:lnTo>
                  <a:pt x="1256919" y="155956"/>
                </a:lnTo>
                <a:lnTo>
                  <a:pt x="1220342" y="130303"/>
                </a:lnTo>
                <a:lnTo>
                  <a:pt x="1182242" y="106554"/>
                </a:lnTo>
                <a:lnTo>
                  <a:pt x="1142745" y="85091"/>
                </a:lnTo>
                <a:lnTo>
                  <a:pt x="1101979" y="65786"/>
                </a:lnTo>
                <a:lnTo>
                  <a:pt x="1059814" y="48896"/>
                </a:lnTo>
                <a:lnTo>
                  <a:pt x="1016635" y="34291"/>
                </a:lnTo>
                <a:lnTo>
                  <a:pt x="972311" y="22098"/>
                </a:lnTo>
                <a:lnTo>
                  <a:pt x="926973" y="12573"/>
                </a:lnTo>
                <a:lnTo>
                  <a:pt x="880617" y="5589"/>
                </a:lnTo>
                <a:lnTo>
                  <a:pt x="833501" y="1397"/>
                </a:lnTo>
                <a:lnTo>
                  <a:pt x="785622" y="0"/>
                </a:lnTo>
                <a:close/>
                <a:moveTo>
                  <a:pt x="3762375" y="4591050"/>
                </a:moveTo>
              </a:path>
            </a:pathLst>
          </a:custGeom>
          <a:solidFill>
            <a:srgbClr val="3660A1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74" name="Freeform 574"/>
          <p:cNvSpPr/>
          <p:nvPr/>
        </p:nvSpPr>
        <p:spPr>
          <a:xfrm>
            <a:off x="3267075" y="4714875"/>
            <a:ext cx="1799844" cy="1800225"/>
          </a:xfrm>
          <a:custGeom>
            <a:avLst/>
            <a:gdLst/>
            <a:ahLst/>
            <a:cxnLst/>
            <a:rect l="0" t="0" r="0" b="0"/>
            <a:pathLst>
              <a:path w="1799844" h="1800225">
                <a:moveTo>
                  <a:pt x="899921" y="0"/>
                </a:moveTo>
                <a:lnTo>
                  <a:pt x="852170" y="1271"/>
                </a:lnTo>
                <a:lnTo>
                  <a:pt x="805053" y="4953"/>
                </a:lnTo>
                <a:lnTo>
                  <a:pt x="758571" y="11049"/>
                </a:lnTo>
                <a:lnTo>
                  <a:pt x="712851" y="19431"/>
                </a:lnTo>
                <a:lnTo>
                  <a:pt x="668146" y="30099"/>
                </a:lnTo>
                <a:lnTo>
                  <a:pt x="624204" y="43053"/>
                </a:lnTo>
                <a:lnTo>
                  <a:pt x="581152" y="58040"/>
                </a:lnTo>
                <a:lnTo>
                  <a:pt x="539241" y="75184"/>
                </a:lnTo>
                <a:lnTo>
                  <a:pt x="498475" y="94361"/>
                </a:lnTo>
                <a:lnTo>
                  <a:pt x="458723" y="115443"/>
                </a:lnTo>
                <a:lnTo>
                  <a:pt x="420242" y="138430"/>
                </a:lnTo>
                <a:lnTo>
                  <a:pt x="383032" y="163196"/>
                </a:lnTo>
                <a:lnTo>
                  <a:pt x="347090" y="189865"/>
                </a:lnTo>
                <a:lnTo>
                  <a:pt x="312546" y="218186"/>
                </a:lnTo>
                <a:lnTo>
                  <a:pt x="279527" y="248031"/>
                </a:lnTo>
                <a:lnTo>
                  <a:pt x="248030" y="279655"/>
                </a:lnTo>
                <a:lnTo>
                  <a:pt x="218059" y="312674"/>
                </a:lnTo>
                <a:lnTo>
                  <a:pt x="189865" y="347092"/>
                </a:lnTo>
                <a:lnTo>
                  <a:pt x="163195" y="383033"/>
                </a:lnTo>
                <a:lnTo>
                  <a:pt x="138429" y="420243"/>
                </a:lnTo>
                <a:lnTo>
                  <a:pt x="115442" y="458852"/>
                </a:lnTo>
                <a:lnTo>
                  <a:pt x="94360" y="498475"/>
                </a:lnTo>
                <a:lnTo>
                  <a:pt x="75184" y="539370"/>
                </a:lnTo>
                <a:lnTo>
                  <a:pt x="58039" y="581279"/>
                </a:lnTo>
                <a:lnTo>
                  <a:pt x="43053" y="624333"/>
                </a:lnTo>
                <a:lnTo>
                  <a:pt x="30098" y="668275"/>
                </a:lnTo>
                <a:lnTo>
                  <a:pt x="19430" y="713106"/>
                </a:lnTo>
                <a:lnTo>
                  <a:pt x="11048" y="758698"/>
                </a:lnTo>
                <a:lnTo>
                  <a:pt x="4953" y="805181"/>
                </a:lnTo>
                <a:lnTo>
                  <a:pt x="1270" y="852298"/>
                </a:lnTo>
                <a:lnTo>
                  <a:pt x="0" y="900113"/>
                </a:lnTo>
                <a:lnTo>
                  <a:pt x="1270" y="947916"/>
                </a:lnTo>
                <a:lnTo>
                  <a:pt x="4953" y="995071"/>
                </a:lnTo>
                <a:lnTo>
                  <a:pt x="11048" y="1041515"/>
                </a:lnTo>
                <a:lnTo>
                  <a:pt x="19430" y="1087184"/>
                </a:lnTo>
                <a:lnTo>
                  <a:pt x="30098" y="1132015"/>
                </a:lnTo>
                <a:lnTo>
                  <a:pt x="43053" y="1175944"/>
                </a:lnTo>
                <a:lnTo>
                  <a:pt x="58039" y="1218921"/>
                </a:lnTo>
                <a:lnTo>
                  <a:pt x="75184" y="1260869"/>
                </a:lnTo>
                <a:lnTo>
                  <a:pt x="94360" y="1301725"/>
                </a:lnTo>
                <a:lnTo>
                  <a:pt x="115442" y="1341451"/>
                </a:lnTo>
                <a:lnTo>
                  <a:pt x="138429" y="1379957"/>
                </a:lnTo>
                <a:lnTo>
                  <a:pt x="163195" y="1417181"/>
                </a:lnTo>
                <a:lnTo>
                  <a:pt x="189865" y="1453084"/>
                </a:lnTo>
                <a:lnTo>
                  <a:pt x="218059" y="1487590"/>
                </a:lnTo>
                <a:lnTo>
                  <a:pt x="248030" y="1520635"/>
                </a:lnTo>
                <a:lnTo>
                  <a:pt x="279527" y="1552156"/>
                </a:lnTo>
                <a:lnTo>
                  <a:pt x="312546" y="1582103"/>
                </a:lnTo>
                <a:lnTo>
                  <a:pt x="347090" y="1610399"/>
                </a:lnTo>
                <a:lnTo>
                  <a:pt x="383032" y="1636980"/>
                </a:lnTo>
                <a:lnTo>
                  <a:pt x="420242" y="1661795"/>
                </a:lnTo>
                <a:lnTo>
                  <a:pt x="458723" y="1684795"/>
                </a:lnTo>
                <a:lnTo>
                  <a:pt x="498475" y="1705877"/>
                </a:lnTo>
                <a:lnTo>
                  <a:pt x="539241" y="1725016"/>
                </a:lnTo>
                <a:lnTo>
                  <a:pt x="581152" y="1742136"/>
                </a:lnTo>
                <a:lnTo>
                  <a:pt x="624204" y="1757173"/>
                </a:lnTo>
                <a:lnTo>
                  <a:pt x="668146" y="1770063"/>
                </a:lnTo>
                <a:lnTo>
                  <a:pt x="712851" y="1780756"/>
                </a:lnTo>
                <a:lnTo>
                  <a:pt x="758571" y="1789176"/>
                </a:lnTo>
                <a:lnTo>
                  <a:pt x="805053" y="1795273"/>
                </a:lnTo>
                <a:lnTo>
                  <a:pt x="852170" y="1798981"/>
                </a:lnTo>
                <a:lnTo>
                  <a:pt x="899921" y="1800225"/>
                </a:lnTo>
                <a:lnTo>
                  <a:pt x="947673" y="1798981"/>
                </a:lnTo>
                <a:lnTo>
                  <a:pt x="994790" y="1795273"/>
                </a:lnTo>
                <a:lnTo>
                  <a:pt x="1041272" y="1789176"/>
                </a:lnTo>
                <a:lnTo>
                  <a:pt x="1086992" y="1780756"/>
                </a:lnTo>
                <a:lnTo>
                  <a:pt x="1131696" y="1770063"/>
                </a:lnTo>
                <a:lnTo>
                  <a:pt x="1175639" y="1757173"/>
                </a:lnTo>
                <a:lnTo>
                  <a:pt x="1218691" y="1742136"/>
                </a:lnTo>
                <a:lnTo>
                  <a:pt x="1260602" y="1725016"/>
                </a:lnTo>
                <a:lnTo>
                  <a:pt x="1301369" y="1705877"/>
                </a:lnTo>
                <a:lnTo>
                  <a:pt x="1341120" y="1684795"/>
                </a:lnTo>
                <a:lnTo>
                  <a:pt x="1379601" y="1661795"/>
                </a:lnTo>
                <a:lnTo>
                  <a:pt x="1416811" y="1636980"/>
                </a:lnTo>
                <a:lnTo>
                  <a:pt x="1452753" y="1610399"/>
                </a:lnTo>
                <a:lnTo>
                  <a:pt x="1487296" y="1582103"/>
                </a:lnTo>
                <a:lnTo>
                  <a:pt x="1520316" y="1552156"/>
                </a:lnTo>
                <a:lnTo>
                  <a:pt x="1551813" y="1520635"/>
                </a:lnTo>
                <a:lnTo>
                  <a:pt x="1581784" y="1487590"/>
                </a:lnTo>
                <a:lnTo>
                  <a:pt x="1609978" y="1453084"/>
                </a:lnTo>
                <a:lnTo>
                  <a:pt x="1636648" y="1417181"/>
                </a:lnTo>
                <a:lnTo>
                  <a:pt x="1661414" y="1379957"/>
                </a:lnTo>
                <a:lnTo>
                  <a:pt x="1684401" y="1341451"/>
                </a:lnTo>
                <a:lnTo>
                  <a:pt x="1705483" y="1301725"/>
                </a:lnTo>
                <a:lnTo>
                  <a:pt x="1724659" y="1260869"/>
                </a:lnTo>
                <a:lnTo>
                  <a:pt x="1741804" y="1218921"/>
                </a:lnTo>
                <a:lnTo>
                  <a:pt x="1756790" y="1175944"/>
                </a:lnTo>
                <a:lnTo>
                  <a:pt x="1769745" y="1132015"/>
                </a:lnTo>
                <a:lnTo>
                  <a:pt x="1780413" y="1087184"/>
                </a:lnTo>
                <a:lnTo>
                  <a:pt x="1788795" y="1041515"/>
                </a:lnTo>
                <a:lnTo>
                  <a:pt x="1794890" y="995071"/>
                </a:lnTo>
                <a:lnTo>
                  <a:pt x="1798573" y="947916"/>
                </a:lnTo>
                <a:lnTo>
                  <a:pt x="1799844" y="900113"/>
                </a:lnTo>
                <a:lnTo>
                  <a:pt x="1798573" y="852298"/>
                </a:lnTo>
                <a:lnTo>
                  <a:pt x="1794890" y="805181"/>
                </a:lnTo>
                <a:lnTo>
                  <a:pt x="1788795" y="758698"/>
                </a:lnTo>
                <a:lnTo>
                  <a:pt x="1780413" y="713106"/>
                </a:lnTo>
                <a:lnTo>
                  <a:pt x="1769745" y="668275"/>
                </a:lnTo>
                <a:lnTo>
                  <a:pt x="1756790" y="624333"/>
                </a:lnTo>
                <a:lnTo>
                  <a:pt x="1741804" y="581279"/>
                </a:lnTo>
                <a:lnTo>
                  <a:pt x="1724659" y="539370"/>
                </a:lnTo>
                <a:lnTo>
                  <a:pt x="1705483" y="498475"/>
                </a:lnTo>
                <a:lnTo>
                  <a:pt x="1684401" y="458852"/>
                </a:lnTo>
                <a:lnTo>
                  <a:pt x="1661414" y="420243"/>
                </a:lnTo>
                <a:lnTo>
                  <a:pt x="1636648" y="383033"/>
                </a:lnTo>
                <a:lnTo>
                  <a:pt x="1609978" y="347092"/>
                </a:lnTo>
                <a:lnTo>
                  <a:pt x="1581784" y="312674"/>
                </a:lnTo>
                <a:lnTo>
                  <a:pt x="1551813" y="279655"/>
                </a:lnTo>
                <a:lnTo>
                  <a:pt x="1520316" y="248031"/>
                </a:lnTo>
                <a:lnTo>
                  <a:pt x="1487296" y="218186"/>
                </a:lnTo>
                <a:lnTo>
                  <a:pt x="1452753" y="189865"/>
                </a:lnTo>
                <a:lnTo>
                  <a:pt x="1416811" y="163196"/>
                </a:lnTo>
                <a:lnTo>
                  <a:pt x="1379601" y="138430"/>
                </a:lnTo>
                <a:lnTo>
                  <a:pt x="1341120" y="115443"/>
                </a:lnTo>
                <a:lnTo>
                  <a:pt x="1301369" y="94361"/>
                </a:lnTo>
                <a:lnTo>
                  <a:pt x="1260602" y="75184"/>
                </a:lnTo>
                <a:lnTo>
                  <a:pt x="1218691" y="58040"/>
                </a:lnTo>
                <a:lnTo>
                  <a:pt x="1175639" y="43053"/>
                </a:lnTo>
                <a:lnTo>
                  <a:pt x="1131696" y="30099"/>
                </a:lnTo>
                <a:lnTo>
                  <a:pt x="1086992" y="19431"/>
                </a:lnTo>
                <a:lnTo>
                  <a:pt x="1041272" y="11049"/>
                </a:lnTo>
                <a:lnTo>
                  <a:pt x="994790" y="4953"/>
                </a:lnTo>
                <a:lnTo>
                  <a:pt x="947673" y="1271"/>
                </a:lnTo>
                <a:lnTo>
                  <a:pt x="899921" y="0"/>
                </a:lnTo>
                <a:close/>
                <a:moveTo>
                  <a:pt x="-1123950" y="2143125"/>
                </a:moveTo>
              </a:path>
            </a:pathLst>
          </a:custGeom>
          <a:solidFill>
            <a:srgbClr val="3660A1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75" name="Freeform 575"/>
          <p:cNvSpPr/>
          <p:nvPr/>
        </p:nvSpPr>
        <p:spPr>
          <a:xfrm>
            <a:off x="4176776" y="4338702"/>
            <a:ext cx="533019" cy="381000"/>
          </a:xfrm>
          <a:custGeom>
            <a:avLst/>
            <a:gdLst/>
            <a:ahLst/>
            <a:cxnLst/>
            <a:rect l="0" t="0" r="0" b="0"/>
            <a:pathLst>
              <a:path w="533019" h="381000">
                <a:moveTo>
                  <a:pt x="0" y="381000"/>
                </a:moveTo>
                <a:lnTo>
                  <a:pt x="533019" y="0"/>
                </a:lnTo>
              </a:path>
            </a:pathLst>
          </a:custGeom>
          <a:noFill/>
          <a:ln w="9144" cap="flat" cmpd="sng">
            <a:solidFill>
              <a:srgbClr val="9B9B9B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76" name="Freeform 576"/>
          <p:cNvSpPr/>
          <p:nvPr/>
        </p:nvSpPr>
        <p:spPr>
          <a:xfrm>
            <a:off x="10777219" y="6348921"/>
            <a:ext cx="766826" cy="509018"/>
          </a:xfrm>
          <a:custGeom>
            <a:avLst/>
            <a:gdLst/>
            <a:ahLst/>
            <a:cxnLst/>
            <a:rect l="0" t="0" r="0" b="0"/>
            <a:pathLst>
              <a:path w="766826" h="509018">
                <a:moveTo>
                  <a:pt x="159132" y="0"/>
                </a:moveTo>
                <a:lnTo>
                  <a:pt x="0" y="20663"/>
                </a:lnTo>
                <a:lnTo>
                  <a:pt x="49149" y="17158"/>
                </a:lnTo>
                <a:lnTo>
                  <a:pt x="97156" y="20231"/>
                </a:lnTo>
                <a:lnTo>
                  <a:pt x="143384" y="32791"/>
                </a:lnTo>
                <a:lnTo>
                  <a:pt x="185294" y="54064"/>
                </a:lnTo>
                <a:lnTo>
                  <a:pt x="223394" y="80518"/>
                </a:lnTo>
                <a:lnTo>
                  <a:pt x="258826" y="109487"/>
                </a:lnTo>
                <a:lnTo>
                  <a:pt x="292989" y="138354"/>
                </a:lnTo>
                <a:lnTo>
                  <a:pt x="331851" y="170167"/>
                </a:lnTo>
                <a:lnTo>
                  <a:pt x="370206" y="202248"/>
                </a:lnTo>
                <a:lnTo>
                  <a:pt x="408051" y="234531"/>
                </a:lnTo>
                <a:lnTo>
                  <a:pt x="445516" y="266941"/>
                </a:lnTo>
                <a:lnTo>
                  <a:pt x="482982" y="299733"/>
                </a:lnTo>
                <a:lnTo>
                  <a:pt x="520065" y="332765"/>
                </a:lnTo>
                <a:lnTo>
                  <a:pt x="556896" y="366027"/>
                </a:lnTo>
                <a:lnTo>
                  <a:pt x="593345" y="399514"/>
                </a:lnTo>
                <a:lnTo>
                  <a:pt x="629412" y="433220"/>
                </a:lnTo>
                <a:lnTo>
                  <a:pt x="665226" y="467135"/>
                </a:lnTo>
                <a:lnTo>
                  <a:pt x="700533" y="501255"/>
                </a:lnTo>
                <a:lnTo>
                  <a:pt x="708407" y="509018"/>
                </a:lnTo>
                <a:lnTo>
                  <a:pt x="766826" y="509018"/>
                </a:lnTo>
                <a:lnTo>
                  <a:pt x="732790" y="475813"/>
                </a:lnTo>
                <a:lnTo>
                  <a:pt x="696214" y="440710"/>
                </a:lnTo>
                <a:lnTo>
                  <a:pt x="659258" y="405853"/>
                </a:lnTo>
                <a:lnTo>
                  <a:pt x="622047" y="371246"/>
                </a:lnTo>
                <a:lnTo>
                  <a:pt x="584582" y="336893"/>
                </a:lnTo>
                <a:lnTo>
                  <a:pt x="509906" y="269951"/>
                </a:lnTo>
                <a:lnTo>
                  <a:pt x="472949" y="237109"/>
                </a:lnTo>
                <a:lnTo>
                  <a:pt x="435611" y="204381"/>
                </a:lnTo>
                <a:lnTo>
                  <a:pt x="397891" y="171882"/>
                </a:lnTo>
                <a:lnTo>
                  <a:pt x="359664" y="139713"/>
                </a:lnTo>
                <a:lnTo>
                  <a:pt x="320929" y="107988"/>
                </a:lnTo>
                <a:lnTo>
                  <a:pt x="281687" y="76835"/>
                </a:lnTo>
                <a:lnTo>
                  <a:pt x="241554" y="46330"/>
                </a:lnTo>
                <a:lnTo>
                  <a:pt x="204344" y="21552"/>
                </a:lnTo>
                <a:lnTo>
                  <a:pt x="163831" y="1435"/>
                </a:lnTo>
                <a:lnTo>
                  <a:pt x="159132" y="0"/>
                </a:lnTo>
                <a:close/>
                <a:moveTo>
                  <a:pt x="-10268140" y="509079"/>
                </a:moveTo>
              </a:path>
            </a:pathLst>
          </a:custGeom>
          <a:solidFill>
            <a:srgbClr val="EBBD1F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77" name="Freeform 577"/>
          <p:cNvSpPr/>
          <p:nvPr/>
        </p:nvSpPr>
        <p:spPr>
          <a:xfrm>
            <a:off x="8410575" y="6388253"/>
            <a:ext cx="1099184" cy="469686"/>
          </a:xfrm>
          <a:custGeom>
            <a:avLst/>
            <a:gdLst/>
            <a:ahLst/>
            <a:cxnLst/>
            <a:rect l="0" t="0" r="0" b="0"/>
            <a:pathLst>
              <a:path w="1099184" h="469686">
                <a:moveTo>
                  <a:pt x="954151" y="14249"/>
                </a:moveTo>
                <a:lnTo>
                  <a:pt x="902334" y="21692"/>
                </a:lnTo>
                <a:lnTo>
                  <a:pt x="851154" y="32093"/>
                </a:lnTo>
                <a:lnTo>
                  <a:pt x="800734" y="45009"/>
                </a:lnTo>
                <a:lnTo>
                  <a:pt x="750823" y="59969"/>
                </a:lnTo>
                <a:lnTo>
                  <a:pt x="701547" y="76530"/>
                </a:lnTo>
                <a:lnTo>
                  <a:pt x="652653" y="94221"/>
                </a:lnTo>
                <a:lnTo>
                  <a:pt x="205105" y="264973"/>
                </a:lnTo>
                <a:lnTo>
                  <a:pt x="142747" y="288861"/>
                </a:lnTo>
                <a:lnTo>
                  <a:pt x="98297" y="311150"/>
                </a:lnTo>
                <a:lnTo>
                  <a:pt x="64643" y="341732"/>
                </a:lnTo>
                <a:lnTo>
                  <a:pt x="43180" y="377144"/>
                </a:lnTo>
                <a:lnTo>
                  <a:pt x="26669" y="414496"/>
                </a:lnTo>
                <a:lnTo>
                  <a:pt x="18160" y="433530"/>
                </a:lnTo>
                <a:lnTo>
                  <a:pt x="9017" y="452361"/>
                </a:lnTo>
                <a:lnTo>
                  <a:pt x="0" y="469686"/>
                </a:lnTo>
                <a:lnTo>
                  <a:pt x="46355" y="469686"/>
                </a:lnTo>
                <a:lnTo>
                  <a:pt x="48894" y="465118"/>
                </a:lnTo>
                <a:lnTo>
                  <a:pt x="69215" y="420870"/>
                </a:lnTo>
                <a:lnTo>
                  <a:pt x="76707" y="402625"/>
                </a:lnTo>
                <a:lnTo>
                  <a:pt x="85090" y="384264"/>
                </a:lnTo>
                <a:lnTo>
                  <a:pt x="108839" y="349931"/>
                </a:lnTo>
                <a:lnTo>
                  <a:pt x="150876" y="323355"/>
                </a:lnTo>
                <a:lnTo>
                  <a:pt x="199517" y="305257"/>
                </a:lnTo>
                <a:lnTo>
                  <a:pt x="355981" y="245364"/>
                </a:lnTo>
                <a:lnTo>
                  <a:pt x="683386" y="121653"/>
                </a:lnTo>
                <a:lnTo>
                  <a:pt x="726693" y="106210"/>
                </a:lnTo>
                <a:lnTo>
                  <a:pt x="770255" y="91681"/>
                </a:lnTo>
                <a:lnTo>
                  <a:pt x="814323" y="78422"/>
                </a:lnTo>
                <a:lnTo>
                  <a:pt x="858901" y="66815"/>
                </a:lnTo>
                <a:lnTo>
                  <a:pt x="915289" y="55105"/>
                </a:lnTo>
                <a:lnTo>
                  <a:pt x="1060577" y="35687"/>
                </a:lnTo>
                <a:lnTo>
                  <a:pt x="1071244" y="31191"/>
                </a:lnTo>
                <a:lnTo>
                  <a:pt x="1086231" y="18656"/>
                </a:lnTo>
                <a:lnTo>
                  <a:pt x="1097153" y="3353"/>
                </a:lnTo>
                <a:lnTo>
                  <a:pt x="1099184" y="0"/>
                </a:lnTo>
                <a:lnTo>
                  <a:pt x="1024508" y="9703"/>
                </a:lnTo>
                <a:lnTo>
                  <a:pt x="984122" y="11900"/>
                </a:lnTo>
                <a:lnTo>
                  <a:pt x="969136" y="12967"/>
                </a:lnTo>
                <a:lnTo>
                  <a:pt x="954151" y="14249"/>
                </a:lnTo>
                <a:close/>
                <a:moveTo>
                  <a:pt x="-7955077" y="469747"/>
                </a:moveTo>
              </a:path>
            </a:pathLst>
          </a:custGeom>
          <a:solidFill>
            <a:srgbClr val="EBBD1F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78" name="Freeform 578"/>
          <p:cNvSpPr/>
          <p:nvPr/>
        </p:nvSpPr>
        <p:spPr>
          <a:xfrm>
            <a:off x="10107168" y="6220232"/>
            <a:ext cx="829183" cy="175196"/>
          </a:xfrm>
          <a:custGeom>
            <a:avLst/>
            <a:gdLst/>
            <a:ahLst/>
            <a:cxnLst/>
            <a:rect l="0" t="0" r="0" b="0"/>
            <a:pathLst>
              <a:path w="829183" h="175196">
                <a:moveTo>
                  <a:pt x="141604" y="0"/>
                </a:moveTo>
                <a:lnTo>
                  <a:pt x="0" y="18402"/>
                </a:lnTo>
                <a:lnTo>
                  <a:pt x="46482" y="14719"/>
                </a:lnTo>
                <a:lnTo>
                  <a:pt x="80772" y="19278"/>
                </a:lnTo>
                <a:lnTo>
                  <a:pt x="142875" y="40462"/>
                </a:lnTo>
                <a:lnTo>
                  <a:pt x="210692" y="77775"/>
                </a:lnTo>
                <a:lnTo>
                  <a:pt x="249936" y="101676"/>
                </a:lnTo>
                <a:lnTo>
                  <a:pt x="289813" y="124854"/>
                </a:lnTo>
                <a:lnTo>
                  <a:pt x="331597" y="145542"/>
                </a:lnTo>
                <a:lnTo>
                  <a:pt x="376047" y="162027"/>
                </a:lnTo>
                <a:lnTo>
                  <a:pt x="424307" y="172555"/>
                </a:lnTo>
                <a:lnTo>
                  <a:pt x="473075" y="175196"/>
                </a:lnTo>
                <a:lnTo>
                  <a:pt x="522477" y="171945"/>
                </a:lnTo>
                <a:lnTo>
                  <a:pt x="571753" y="164998"/>
                </a:lnTo>
                <a:lnTo>
                  <a:pt x="620775" y="156540"/>
                </a:lnTo>
                <a:lnTo>
                  <a:pt x="670051" y="149352"/>
                </a:lnTo>
                <a:lnTo>
                  <a:pt x="829183" y="128689"/>
                </a:lnTo>
                <a:lnTo>
                  <a:pt x="789432" y="116268"/>
                </a:lnTo>
                <a:lnTo>
                  <a:pt x="740663" y="110236"/>
                </a:lnTo>
                <a:lnTo>
                  <a:pt x="724662" y="110858"/>
                </a:lnTo>
                <a:lnTo>
                  <a:pt x="537972" y="135102"/>
                </a:lnTo>
                <a:lnTo>
                  <a:pt x="493522" y="139078"/>
                </a:lnTo>
                <a:lnTo>
                  <a:pt x="450723" y="138595"/>
                </a:lnTo>
                <a:lnTo>
                  <a:pt x="409321" y="132715"/>
                </a:lnTo>
                <a:lnTo>
                  <a:pt x="368935" y="120536"/>
                </a:lnTo>
                <a:lnTo>
                  <a:pt x="305053" y="89713"/>
                </a:lnTo>
                <a:lnTo>
                  <a:pt x="245490" y="53962"/>
                </a:lnTo>
                <a:lnTo>
                  <a:pt x="216026" y="36411"/>
                </a:lnTo>
                <a:lnTo>
                  <a:pt x="185674" y="19596"/>
                </a:lnTo>
                <a:lnTo>
                  <a:pt x="153797" y="4470"/>
                </a:lnTo>
                <a:lnTo>
                  <a:pt x="141604" y="0"/>
                </a:lnTo>
                <a:close/>
                <a:moveTo>
                  <a:pt x="-9469400" y="637768"/>
                </a:moveTo>
              </a:path>
            </a:pathLst>
          </a:custGeom>
          <a:solidFill>
            <a:srgbClr val="EBBD1F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79" name="Freeform 579"/>
          <p:cNvSpPr/>
          <p:nvPr/>
        </p:nvSpPr>
        <p:spPr>
          <a:xfrm>
            <a:off x="10645140" y="6331090"/>
            <a:ext cx="186690" cy="24244"/>
          </a:xfrm>
          <a:custGeom>
            <a:avLst/>
            <a:gdLst/>
            <a:ahLst/>
            <a:cxnLst/>
            <a:rect l="0" t="0" r="0" b="0"/>
            <a:pathLst>
              <a:path w="186690" h="24244">
                <a:moveTo>
                  <a:pt x="101218" y="7734"/>
                </a:moveTo>
                <a:lnTo>
                  <a:pt x="0" y="24244"/>
                </a:lnTo>
                <a:lnTo>
                  <a:pt x="186690" y="0"/>
                </a:lnTo>
                <a:lnTo>
                  <a:pt x="151765" y="1359"/>
                </a:lnTo>
                <a:lnTo>
                  <a:pt x="101218" y="7734"/>
                </a:lnTo>
                <a:close/>
                <a:moveTo>
                  <a:pt x="-10125964" y="526910"/>
                </a:moveTo>
              </a:path>
            </a:pathLst>
          </a:custGeom>
          <a:solidFill>
            <a:srgbClr val="EBBD1F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80" name="Freeform 580"/>
          <p:cNvSpPr/>
          <p:nvPr/>
        </p:nvSpPr>
        <p:spPr>
          <a:xfrm>
            <a:off x="9354311" y="6423940"/>
            <a:ext cx="116841" cy="15176"/>
          </a:xfrm>
          <a:custGeom>
            <a:avLst/>
            <a:gdLst/>
            <a:ahLst/>
            <a:cxnLst/>
            <a:rect l="0" t="0" r="0" b="0"/>
            <a:pathLst>
              <a:path w="116841" h="15176">
                <a:moveTo>
                  <a:pt x="116841" y="0"/>
                </a:moveTo>
                <a:lnTo>
                  <a:pt x="0" y="15176"/>
                </a:lnTo>
                <a:lnTo>
                  <a:pt x="28575" y="12014"/>
                </a:lnTo>
                <a:lnTo>
                  <a:pt x="79375" y="9347"/>
                </a:lnTo>
                <a:lnTo>
                  <a:pt x="104648" y="5118"/>
                </a:lnTo>
                <a:lnTo>
                  <a:pt x="116841" y="0"/>
                </a:lnTo>
                <a:close/>
                <a:moveTo>
                  <a:pt x="-8920251" y="434060"/>
                </a:moveTo>
              </a:path>
            </a:pathLst>
          </a:custGeom>
          <a:solidFill>
            <a:srgbClr val="EBBD1F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81" name="Freeform 581"/>
          <p:cNvSpPr/>
          <p:nvPr/>
        </p:nvSpPr>
        <p:spPr>
          <a:xfrm>
            <a:off x="9435083" y="6253455"/>
            <a:ext cx="409195" cy="144501"/>
          </a:xfrm>
          <a:custGeom>
            <a:avLst/>
            <a:gdLst/>
            <a:ahLst/>
            <a:cxnLst/>
            <a:rect l="0" t="0" r="0" b="0"/>
            <a:pathLst>
              <a:path w="409195" h="144501">
                <a:moveTo>
                  <a:pt x="238760" y="0"/>
                </a:moveTo>
                <a:lnTo>
                  <a:pt x="193422" y="7531"/>
                </a:lnTo>
                <a:lnTo>
                  <a:pt x="150496" y="22047"/>
                </a:lnTo>
                <a:lnTo>
                  <a:pt x="110998" y="42685"/>
                </a:lnTo>
                <a:lnTo>
                  <a:pt x="76455" y="68605"/>
                </a:lnTo>
                <a:lnTo>
                  <a:pt x="50800" y="97498"/>
                </a:lnTo>
                <a:lnTo>
                  <a:pt x="39624" y="115380"/>
                </a:lnTo>
                <a:lnTo>
                  <a:pt x="34163" y="124511"/>
                </a:lnTo>
                <a:lnTo>
                  <a:pt x="27813" y="133363"/>
                </a:lnTo>
                <a:lnTo>
                  <a:pt x="20067" y="139611"/>
                </a:lnTo>
                <a:lnTo>
                  <a:pt x="10542" y="143002"/>
                </a:lnTo>
                <a:lnTo>
                  <a:pt x="0" y="144501"/>
                </a:lnTo>
                <a:lnTo>
                  <a:pt x="74676" y="134798"/>
                </a:lnTo>
                <a:lnTo>
                  <a:pt x="107570" y="91745"/>
                </a:lnTo>
                <a:lnTo>
                  <a:pt x="141733" y="66269"/>
                </a:lnTo>
                <a:lnTo>
                  <a:pt x="206375" y="40729"/>
                </a:lnTo>
                <a:lnTo>
                  <a:pt x="409195" y="14389"/>
                </a:lnTo>
                <a:lnTo>
                  <a:pt x="389256" y="13208"/>
                </a:lnTo>
                <a:lnTo>
                  <a:pt x="339345" y="6172"/>
                </a:lnTo>
                <a:lnTo>
                  <a:pt x="289560" y="102"/>
                </a:lnTo>
                <a:lnTo>
                  <a:pt x="238760" y="0"/>
                </a:lnTo>
                <a:close/>
                <a:moveTo>
                  <a:pt x="-8830538" y="604545"/>
                </a:moveTo>
              </a:path>
            </a:pathLst>
          </a:custGeom>
          <a:solidFill>
            <a:srgbClr val="EBBD1F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82" name="Freeform 582"/>
          <p:cNvSpPr/>
          <p:nvPr/>
        </p:nvSpPr>
        <p:spPr>
          <a:xfrm>
            <a:off x="9641458" y="6240374"/>
            <a:ext cx="459233" cy="63805"/>
          </a:xfrm>
          <a:custGeom>
            <a:avLst/>
            <a:gdLst/>
            <a:ahLst/>
            <a:cxnLst/>
            <a:rect l="0" t="0" r="0" b="0"/>
            <a:pathLst>
              <a:path w="459233" h="63805">
                <a:moveTo>
                  <a:pt x="202820" y="27470"/>
                </a:moveTo>
                <a:lnTo>
                  <a:pt x="0" y="53810"/>
                </a:lnTo>
                <a:lnTo>
                  <a:pt x="45721" y="48247"/>
                </a:lnTo>
                <a:lnTo>
                  <a:pt x="91948" y="49721"/>
                </a:lnTo>
                <a:lnTo>
                  <a:pt x="138685" y="55525"/>
                </a:lnTo>
                <a:lnTo>
                  <a:pt x="163323" y="58941"/>
                </a:lnTo>
                <a:lnTo>
                  <a:pt x="188087" y="61913"/>
                </a:lnTo>
                <a:lnTo>
                  <a:pt x="212980" y="63779"/>
                </a:lnTo>
                <a:lnTo>
                  <a:pt x="238125" y="63805"/>
                </a:lnTo>
                <a:lnTo>
                  <a:pt x="262763" y="61621"/>
                </a:lnTo>
                <a:lnTo>
                  <a:pt x="287274" y="57252"/>
                </a:lnTo>
                <a:lnTo>
                  <a:pt x="311277" y="51029"/>
                </a:lnTo>
                <a:lnTo>
                  <a:pt x="334773" y="43244"/>
                </a:lnTo>
                <a:lnTo>
                  <a:pt x="421006" y="10452"/>
                </a:lnTo>
                <a:lnTo>
                  <a:pt x="459233" y="0"/>
                </a:lnTo>
                <a:lnTo>
                  <a:pt x="233681" y="29299"/>
                </a:lnTo>
                <a:lnTo>
                  <a:pt x="202820" y="27470"/>
                </a:lnTo>
                <a:close/>
                <a:moveTo>
                  <a:pt x="-9051302" y="617626"/>
                </a:moveTo>
              </a:path>
            </a:pathLst>
          </a:custGeom>
          <a:solidFill>
            <a:srgbClr val="EBBD1F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83" name="Freeform 583"/>
          <p:cNvSpPr/>
          <p:nvPr/>
        </p:nvSpPr>
        <p:spPr>
          <a:xfrm>
            <a:off x="9875139" y="6200775"/>
            <a:ext cx="373633" cy="68898"/>
          </a:xfrm>
          <a:custGeom>
            <a:avLst/>
            <a:gdLst/>
            <a:ahLst/>
            <a:cxnLst/>
            <a:rect l="0" t="0" r="0" b="0"/>
            <a:pathLst>
              <a:path w="373633" h="68898">
                <a:moveTo>
                  <a:pt x="232917" y="2896"/>
                </a:moveTo>
                <a:lnTo>
                  <a:pt x="193040" y="11684"/>
                </a:lnTo>
                <a:lnTo>
                  <a:pt x="145161" y="28360"/>
                </a:lnTo>
                <a:lnTo>
                  <a:pt x="98043" y="46940"/>
                </a:lnTo>
                <a:lnTo>
                  <a:pt x="50038" y="62205"/>
                </a:lnTo>
                <a:lnTo>
                  <a:pt x="0" y="68898"/>
                </a:lnTo>
                <a:lnTo>
                  <a:pt x="225552" y="39599"/>
                </a:lnTo>
                <a:lnTo>
                  <a:pt x="232029" y="37859"/>
                </a:lnTo>
                <a:lnTo>
                  <a:pt x="373633" y="19457"/>
                </a:lnTo>
                <a:lnTo>
                  <a:pt x="351917" y="11494"/>
                </a:lnTo>
                <a:lnTo>
                  <a:pt x="312801" y="2896"/>
                </a:lnTo>
                <a:lnTo>
                  <a:pt x="273050" y="0"/>
                </a:lnTo>
                <a:lnTo>
                  <a:pt x="232917" y="2896"/>
                </a:lnTo>
                <a:close/>
                <a:moveTo>
                  <a:pt x="-9220810" y="657225"/>
                </a:moveTo>
              </a:path>
            </a:pathLst>
          </a:custGeom>
          <a:solidFill>
            <a:srgbClr val="EBBD1F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84" name="Rectangle 584"/>
          <p:cNvSpPr/>
          <p:nvPr/>
        </p:nvSpPr>
        <p:spPr>
          <a:xfrm>
            <a:off x="11418951" y="6400508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17</a:t>
            </a:r>
          </a:p>
        </p:txBody>
      </p:sp>
      <p:sp>
        <p:nvSpPr>
          <p:cNvPr id="585" name="Rectangle 585"/>
          <p:cNvSpPr/>
          <p:nvPr/>
        </p:nvSpPr>
        <p:spPr>
          <a:xfrm>
            <a:off x="630555" y="459812"/>
            <a:ext cx="6614430" cy="112794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Wha</a:t>
            </a:r>
            <a:r>
              <a:rPr lang="fr-FR" sz="3604" b="1" i="0" spc="1019" baseline="0" dirty="0">
                <a:solidFill>
                  <a:srgbClr val="466CAD"/>
                </a:solidFill>
                <a:latin typeface="Arial"/>
              </a:rPr>
              <a:t>t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d</a:t>
            </a:r>
            <a:r>
              <a:rPr lang="fr-FR" sz="3604" b="1" i="0" spc="1014" baseline="0" dirty="0">
                <a:solidFill>
                  <a:srgbClr val="466CAD"/>
                </a:solidFill>
                <a:latin typeface="Arial"/>
              </a:rPr>
              <a:t>o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consultin</a:t>
            </a:r>
            <a:r>
              <a:rPr lang="fr-FR" sz="3604" b="1" i="0" spc="1000" baseline="0" dirty="0">
                <a:solidFill>
                  <a:srgbClr val="466CAD"/>
                </a:solidFill>
                <a:latin typeface="Arial"/>
              </a:rPr>
              <a:t>g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firms</a:t>
            </a:r>
          </a:p>
          <a:p>
            <a:pPr marL="0">
              <a:lnSpc>
                <a:spcPts val="4058"/>
              </a:lnSpc>
            </a:pP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lik</a:t>
            </a:r>
            <a:r>
              <a:rPr lang="fr-FR" sz="3604" b="1" i="0" spc="991" baseline="0" dirty="0">
                <a:solidFill>
                  <a:srgbClr val="466CAD"/>
                </a:solidFill>
                <a:latin typeface="Arial"/>
              </a:rPr>
              <a:t>e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whe</a:t>
            </a:r>
            <a:r>
              <a:rPr lang="fr-FR" sz="3604" b="1" i="0" spc="986" baseline="0" dirty="0">
                <a:solidFill>
                  <a:srgbClr val="466CAD"/>
                </a:solidFill>
                <a:latin typeface="Arial"/>
              </a:rPr>
              <a:t>n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screenin</a:t>
            </a:r>
            <a:r>
              <a:rPr lang="fr-FR" sz="3604" b="1" i="0" spc="1004" baseline="0" dirty="0">
                <a:solidFill>
                  <a:srgbClr val="466CAD"/>
                </a:solidFill>
                <a:latin typeface="Arial"/>
              </a:rPr>
              <a:t>g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resumes?</a:t>
            </a:r>
          </a:p>
        </p:txBody>
      </p:sp>
      <p:sp>
        <p:nvSpPr>
          <p:cNvPr id="586" name="Rectangle 586"/>
          <p:cNvSpPr/>
          <p:nvPr/>
        </p:nvSpPr>
        <p:spPr>
          <a:xfrm>
            <a:off x="4607940" y="2712312"/>
            <a:ext cx="1899136" cy="153034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196723"/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A</a:t>
            </a:r>
            <a:r>
              <a:rPr lang="fr-FR" sz="1427" b="1" i="0" spc="367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leas</a:t>
            </a:r>
            <a:r>
              <a:rPr lang="fr-FR" sz="1427" b="1" i="0" spc="326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427" b="1" i="0" spc="346" baseline="0" dirty="0">
                <a:solidFill>
                  <a:srgbClr val="FFFFFF"/>
                </a:solidFill>
                <a:latin typeface="Arial"/>
              </a:rPr>
              <a:t>6</a:t>
            </a: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months </a:t>
            </a:r>
          </a:p>
          <a:p>
            <a:pPr marL="218694">
              <a:lnSpc>
                <a:spcPts val="1727"/>
              </a:lnSpc>
            </a:pP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427" b="1" i="0" spc="359" baseline="0" dirty="0">
                <a:solidFill>
                  <a:srgbClr val="FFFFFF"/>
                </a:solidFill>
                <a:latin typeface="Arial"/>
              </a:rPr>
              <a:t>f</a:t>
            </a: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internships</a:t>
            </a:r>
            <a:r>
              <a:rPr lang="fr-FR" sz="1427" b="1" i="0" spc="321" baseline="0" dirty="0">
                <a:solidFill>
                  <a:srgbClr val="FFFFFF"/>
                </a:solidFill>
                <a:latin typeface="Arial"/>
              </a:rPr>
              <a:t>,</a:t>
            </a: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of</a:t>
            </a:r>
          </a:p>
          <a:p>
            <a:pPr marL="0">
              <a:lnSpc>
                <a:spcPts val="1652"/>
              </a:lnSpc>
            </a:pP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whic</a:t>
            </a:r>
            <a:r>
              <a:rPr lang="fr-FR" sz="1427" b="1" i="0" spc="329" baseline="0" dirty="0">
                <a:solidFill>
                  <a:srgbClr val="FFFFFF"/>
                </a:solidFill>
                <a:latin typeface="Arial"/>
              </a:rPr>
              <a:t>h</a:t>
            </a: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a</a:t>
            </a:r>
            <a:r>
              <a:rPr lang="fr-FR" sz="1427" b="1" i="0" spc="374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leas</a:t>
            </a:r>
            <a:r>
              <a:rPr lang="fr-FR" sz="1427" b="1" i="0" spc="341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on</a:t>
            </a:r>
            <a:r>
              <a:rPr lang="fr-FR" sz="1427" b="1" i="0" spc="298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i</a:t>
            </a:r>
            <a:r>
              <a:rPr lang="fr-FR" sz="1427" b="1" i="0" spc="352" baseline="0" dirty="0">
                <a:solidFill>
                  <a:srgbClr val="FFFFFF"/>
                </a:solidFill>
                <a:latin typeface="Arial"/>
              </a:rPr>
              <a:t>n</a:t>
            </a: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a </a:t>
            </a:r>
          </a:p>
          <a:p>
            <a:pPr marL="26543">
              <a:lnSpc>
                <a:spcPts val="1651"/>
              </a:lnSpc>
            </a:pP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world-class company </a:t>
            </a:r>
          </a:p>
          <a:p>
            <a:pPr marL="89154">
              <a:lnSpc>
                <a:spcPts val="1727"/>
              </a:lnSpc>
            </a:pP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or entrepreneurship </a:t>
            </a:r>
          </a:p>
          <a:p>
            <a:pPr marL="386969">
              <a:lnSpc>
                <a:spcPts val="1652"/>
              </a:lnSpc>
            </a:pP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(regardles</a:t>
            </a:r>
            <a:r>
              <a:rPr lang="fr-FR" sz="1427" b="0" i="0" spc="301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of</a:t>
            </a:r>
          </a:p>
          <a:p>
            <a:pPr marL="369824">
              <a:lnSpc>
                <a:spcPts val="1727"/>
              </a:lnSpc>
            </a:pP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th</a:t>
            </a:r>
            <a:r>
              <a:rPr lang="fr-FR" sz="1427" b="0" i="0" spc="314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industries)</a:t>
            </a:r>
          </a:p>
        </p:txBody>
      </p:sp>
      <p:sp>
        <p:nvSpPr>
          <p:cNvPr id="587" name="Rectangle 587"/>
          <p:cNvSpPr/>
          <p:nvPr/>
        </p:nvSpPr>
        <p:spPr>
          <a:xfrm>
            <a:off x="796290" y="4712285"/>
            <a:ext cx="1275584" cy="131034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208915"/>
            <a:r>
              <a:rPr lang="fr-FR" sz="1425" b="0" i="0" spc="0" baseline="0" dirty="0">
                <a:solidFill>
                  <a:srgbClr val="FFFFFF"/>
                </a:solidFill>
                <a:latin typeface="Arial"/>
              </a:rPr>
              <a:t>Fluency in </a:t>
            </a:r>
          </a:p>
          <a:p>
            <a:pPr marL="0">
              <a:lnSpc>
                <a:spcPts val="1727"/>
              </a:lnSpc>
            </a:pPr>
            <a:r>
              <a:rPr lang="fr-FR" sz="1425" b="1" i="0" spc="0" baseline="0" dirty="0">
                <a:solidFill>
                  <a:srgbClr val="FFFFFF"/>
                </a:solidFill>
                <a:latin typeface="Arial"/>
              </a:rPr>
              <a:t>Englis</a:t>
            </a:r>
            <a:r>
              <a:rPr lang="fr-FR" sz="1425" b="1" i="0" spc="337" baseline="0" dirty="0">
                <a:solidFill>
                  <a:srgbClr val="FFFFFF"/>
                </a:solidFill>
                <a:latin typeface="Arial"/>
              </a:rPr>
              <a:t>h</a:t>
            </a:r>
            <a:r>
              <a:rPr lang="fr-FR" sz="1425" b="1" i="0" spc="335" baseline="0" dirty="0">
                <a:solidFill>
                  <a:srgbClr val="FFFFFF"/>
                </a:solidFill>
                <a:latin typeface="Arial"/>
              </a:rPr>
              <a:t>+</a:t>
            </a:r>
            <a:r>
              <a:rPr lang="fr-FR" sz="1425" b="1" i="0" spc="0" baseline="0" dirty="0">
                <a:solidFill>
                  <a:srgbClr val="FFFFFF"/>
                </a:solidFill>
                <a:latin typeface="Arial"/>
              </a:rPr>
              <a:t>local </a:t>
            </a:r>
          </a:p>
          <a:p>
            <a:pPr marL="227012">
              <a:lnSpc>
                <a:spcPts val="1650"/>
              </a:lnSpc>
            </a:pP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language </a:t>
            </a:r>
          </a:p>
          <a:p>
            <a:pPr marL="118109">
              <a:lnSpc>
                <a:spcPts val="1652"/>
              </a:lnSpc>
            </a:pP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(French is a </a:t>
            </a:r>
          </a:p>
          <a:p>
            <a:pPr marL="69532">
              <a:lnSpc>
                <a:spcPts val="1726"/>
              </a:lnSpc>
            </a:pP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must-have in </a:t>
            </a:r>
          </a:p>
          <a:p>
            <a:pPr marL="365759">
              <a:lnSpc>
                <a:spcPts val="1652"/>
              </a:lnSpc>
            </a:pP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Paris)</a:t>
            </a:r>
          </a:p>
        </p:txBody>
      </p:sp>
      <p:sp>
        <p:nvSpPr>
          <p:cNvPr id="588" name="Rectangle 588"/>
          <p:cNvSpPr/>
          <p:nvPr/>
        </p:nvSpPr>
        <p:spPr>
          <a:xfrm>
            <a:off x="1100772" y="2481553"/>
            <a:ext cx="1087228" cy="11010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132079"/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Excellent </a:t>
            </a:r>
          </a:p>
          <a:p>
            <a:pPr marL="105092">
              <a:lnSpc>
                <a:spcPts val="1727"/>
              </a:lnSpc>
            </a:pP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education </a:t>
            </a:r>
          </a:p>
          <a:p>
            <a:pPr marL="0">
              <a:lnSpc>
                <a:spcPts val="1651"/>
              </a:lnSpc>
            </a:pP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degree</a:t>
            </a:r>
            <a:r>
              <a:rPr lang="fr-FR" sz="1427" b="1" i="0" spc="271" baseline="0" dirty="0">
                <a:solidFill>
                  <a:srgbClr val="FFFFFF"/>
                </a:solidFill>
                <a:latin typeface="Arial"/>
              </a:rPr>
              <a:t>,</a:t>
            </a: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such </a:t>
            </a:r>
          </a:p>
          <a:p>
            <a:pPr marL="160337">
              <a:lnSpc>
                <a:spcPts val="1652"/>
              </a:lnSpc>
            </a:pP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as ESCP </a:t>
            </a:r>
          </a:p>
          <a:p>
            <a:pPr marL="234251">
              <a:lnSpc>
                <a:spcPts val="1727"/>
              </a:lnSpc>
            </a:pP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Europe</a:t>
            </a:r>
          </a:p>
        </p:txBody>
      </p:sp>
      <p:sp>
        <p:nvSpPr>
          <p:cNvPr id="589" name="Rectangle 589"/>
          <p:cNvSpPr/>
          <p:nvPr/>
        </p:nvSpPr>
        <p:spPr>
          <a:xfrm>
            <a:off x="3547109" y="5158713"/>
            <a:ext cx="1363015" cy="46202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Extracurricular  </a:t>
            </a:r>
          </a:p>
          <a:p>
            <a:pPr marL="166370">
              <a:lnSpc>
                <a:spcPts val="1727"/>
              </a:lnSpc>
            </a:pP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experience </a:t>
            </a:r>
          </a:p>
        </p:txBody>
      </p:sp>
      <p:sp>
        <p:nvSpPr>
          <p:cNvPr id="590" name="Rectangle 590"/>
          <p:cNvSpPr/>
          <p:nvPr/>
        </p:nvSpPr>
        <p:spPr>
          <a:xfrm>
            <a:off x="3651503" y="5587973"/>
            <a:ext cx="1105541" cy="45243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(hobby, sport, </a:t>
            </a:r>
          </a:p>
          <a:p>
            <a:pPr marL="155321">
              <a:lnSpc>
                <a:spcPts val="1652"/>
              </a:lnSpc>
            </a:pP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clubs</a:t>
            </a:r>
            <a:r>
              <a:rPr lang="fr-FR" sz="1427" b="0" i="0" spc="339" baseline="0" dirty="0">
                <a:solidFill>
                  <a:srgbClr val="FFFFFF"/>
                </a:solidFill>
                <a:latin typeface="Arial"/>
              </a:rPr>
              <a:t>,</a:t>
            </a: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…)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Freeform 59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592" name="Picture 592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593" name="Freeform 593"/>
          <p:cNvSpPr/>
          <p:nvPr/>
        </p:nvSpPr>
        <p:spPr>
          <a:xfrm>
            <a:off x="666750" y="1685914"/>
            <a:ext cx="1542669" cy="56908"/>
          </a:xfrm>
          <a:custGeom>
            <a:avLst/>
            <a:gdLst/>
            <a:ahLst/>
            <a:cxnLst/>
            <a:rect l="0" t="0" r="0" b="0"/>
            <a:pathLst>
              <a:path w="1542669" h="56908">
                <a:moveTo>
                  <a:pt x="0" y="56908"/>
                </a:moveTo>
                <a:lnTo>
                  <a:pt x="1542669" y="56908"/>
                </a:lnTo>
                <a:lnTo>
                  <a:pt x="1542669" y="0"/>
                </a:lnTo>
                <a:lnTo>
                  <a:pt x="0" y="0"/>
                </a:lnTo>
                <a:lnTo>
                  <a:pt x="0" y="56908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94" name="Freeform 594"/>
          <p:cNvSpPr/>
          <p:nvPr/>
        </p:nvSpPr>
        <p:spPr>
          <a:xfrm>
            <a:off x="671512" y="1690740"/>
            <a:ext cx="1542669" cy="56907"/>
          </a:xfrm>
          <a:custGeom>
            <a:avLst/>
            <a:gdLst/>
            <a:ahLst/>
            <a:cxnLst/>
            <a:rect l="0" t="0" r="0" b="0"/>
            <a:pathLst>
              <a:path w="1542669" h="56907">
                <a:moveTo>
                  <a:pt x="0" y="56907"/>
                </a:moveTo>
                <a:lnTo>
                  <a:pt x="1542669" y="56907"/>
                </a:lnTo>
                <a:lnTo>
                  <a:pt x="1542669" y="0"/>
                </a:lnTo>
                <a:lnTo>
                  <a:pt x="0" y="0"/>
                </a:lnTo>
                <a:lnTo>
                  <a:pt x="0" y="56907"/>
                </a:lnTo>
                <a:close/>
              </a:path>
            </a:pathLst>
          </a:custGeom>
          <a:noFill/>
          <a:ln w="10667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95" name="Freeform 595"/>
          <p:cNvSpPr/>
          <p:nvPr/>
        </p:nvSpPr>
        <p:spPr>
          <a:xfrm>
            <a:off x="714375" y="4838193"/>
            <a:ext cx="148463" cy="57277"/>
          </a:xfrm>
          <a:custGeom>
            <a:avLst/>
            <a:gdLst/>
            <a:ahLst/>
            <a:cxnLst/>
            <a:rect l="0" t="0" r="0" b="0"/>
            <a:pathLst>
              <a:path w="148463" h="57277">
                <a:moveTo>
                  <a:pt x="148463" y="28575"/>
                </a:moveTo>
                <a:lnTo>
                  <a:pt x="141528" y="8890"/>
                </a:lnTo>
                <a:lnTo>
                  <a:pt x="120738" y="0"/>
                </a:lnTo>
                <a:lnTo>
                  <a:pt x="27724" y="0"/>
                </a:lnTo>
                <a:lnTo>
                  <a:pt x="6934" y="8890"/>
                </a:lnTo>
                <a:lnTo>
                  <a:pt x="0" y="28575"/>
                </a:lnTo>
                <a:lnTo>
                  <a:pt x="6934" y="48387"/>
                </a:lnTo>
                <a:lnTo>
                  <a:pt x="27724" y="57277"/>
                </a:lnTo>
                <a:lnTo>
                  <a:pt x="120738" y="57277"/>
                </a:lnTo>
                <a:lnTo>
                  <a:pt x="141528" y="48387"/>
                </a:lnTo>
                <a:lnTo>
                  <a:pt x="148463" y="28575"/>
                </a:lnTo>
                <a:close/>
                <a:moveTo>
                  <a:pt x="1276857" y="2019807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96" name="Freeform 596"/>
          <p:cNvSpPr/>
          <p:nvPr/>
        </p:nvSpPr>
        <p:spPr>
          <a:xfrm>
            <a:off x="714375" y="4293362"/>
            <a:ext cx="148463" cy="57405"/>
          </a:xfrm>
          <a:custGeom>
            <a:avLst/>
            <a:gdLst/>
            <a:ahLst/>
            <a:cxnLst/>
            <a:rect l="0" t="0" r="0" b="0"/>
            <a:pathLst>
              <a:path w="148463" h="57405">
                <a:moveTo>
                  <a:pt x="148463" y="28703"/>
                </a:moveTo>
                <a:lnTo>
                  <a:pt x="141528" y="9018"/>
                </a:lnTo>
                <a:lnTo>
                  <a:pt x="120738" y="0"/>
                </a:lnTo>
                <a:lnTo>
                  <a:pt x="27724" y="0"/>
                </a:lnTo>
                <a:lnTo>
                  <a:pt x="6934" y="9018"/>
                </a:lnTo>
                <a:lnTo>
                  <a:pt x="0" y="28703"/>
                </a:lnTo>
                <a:lnTo>
                  <a:pt x="6934" y="48387"/>
                </a:lnTo>
                <a:lnTo>
                  <a:pt x="27724" y="57405"/>
                </a:lnTo>
                <a:lnTo>
                  <a:pt x="120738" y="57405"/>
                </a:lnTo>
                <a:lnTo>
                  <a:pt x="141528" y="48387"/>
                </a:lnTo>
                <a:lnTo>
                  <a:pt x="148463" y="28703"/>
                </a:lnTo>
                <a:close/>
                <a:moveTo>
                  <a:pt x="1821560" y="2564638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97" name="Freeform 597"/>
          <p:cNvSpPr/>
          <p:nvPr/>
        </p:nvSpPr>
        <p:spPr>
          <a:xfrm>
            <a:off x="714375" y="3754755"/>
            <a:ext cx="148463" cy="57278"/>
          </a:xfrm>
          <a:custGeom>
            <a:avLst/>
            <a:gdLst/>
            <a:ahLst/>
            <a:cxnLst/>
            <a:rect l="0" t="0" r="0" b="0"/>
            <a:pathLst>
              <a:path w="148463" h="57278">
                <a:moveTo>
                  <a:pt x="148463" y="28575"/>
                </a:moveTo>
                <a:lnTo>
                  <a:pt x="141528" y="8891"/>
                </a:lnTo>
                <a:lnTo>
                  <a:pt x="120738" y="0"/>
                </a:lnTo>
                <a:lnTo>
                  <a:pt x="27724" y="0"/>
                </a:lnTo>
                <a:lnTo>
                  <a:pt x="6934" y="8891"/>
                </a:lnTo>
                <a:lnTo>
                  <a:pt x="0" y="28575"/>
                </a:lnTo>
                <a:lnTo>
                  <a:pt x="6934" y="48388"/>
                </a:lnTo>
                <a:lnTo>
                  <a:pt x="27724" y="57278"/>
                </a:lnTo>
                <a:lnTo>
                  <a:pt x="120738" y="57278"/>
                </a:lnTo>
                <a:lnTo>
                  <a:pt x="141528" y="48388"/>
                </a:lnTo>
                <a:lnTo>
                  <a:pt x="148463" y="28575"/>
                </a:lnTo>
                <a:close/>
                <a:moveTo>
                  <a:pt x="2360295" y="3103245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98" name="Freeform 598"/>
          <p:cNvSpPr/>
          <p:nvPr/>
        </p:nvSpPr>
        <p:spPr>
          <a:xfrm>
            <a:off x="714375" y="3209925"/>
            <a:ext cx="148463" cy="57404"/>
          </a:xfrm>
          <a:custGeom>
            <a:avLst/>
            <a:gdLst/>
            <a:ahLst/>
            <a:cxnLst/>
            <a:rect l="0" t="0" r="0" b="0"/>
            <a:pathLst>
              <a:path w="148463" h="57404">
                <a:moveTo>
                  <a:pt x="148463" y="28703"/>
                </a:moveTo>
                <a:lnTo>
                  <a:pt x="141528" y="9017"/>
                </a:lnTo>
                <a:lnTo>
                  <a:pt x="120738" y="0"/>
                </a:lnTo>
                <a:lnTo>
                  <a:pt x="27724" y="0"/>
                </a:lnTo>
                <a:lnTo>
                  <a:pt x="6934" y="9017"/>
                </a:lnTo>
                <a:lnTo>
                  <a:pt x="0" y="28703"/>
                </a:lnTo>
                <a:lnTo>
                  <a:pt x="6934" y="48387"/>
                </a:lnTo>
                <a:lnTo>
                  <a:pt x="27724" y="57404"/>
                </a:lnTo>
                <a:lnTo>
                  <a:pt x="120738" y="57404"/>
                </a:lnTo>
                <a:lnTo>
                  <a:pt x="141528" y="48387"/>
                </a:lnTo>
                <a:lnTo>
                  <a:pt x="148463" y="28703"/>
                </a:lnTo>
                <a:close/>
                <a:moveTo>
                  <a:pt x="2904997" y="3648075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599" name="Freeform 599"/>
          <p:cNvSpPr/>
          <p:nvPr/>
        </p:nvSpPr>
        <p:spPr>
          <a:xfrm>
            <a:off x="6204458" y="4838193"/>
            <a:ext cx="148336" cy="57277"/>
          </a:xfrm>
          <a:custGeom>
            <a:avLst/>
            <a:gdLst/>
            <a:ahLst/>
            <a:cxnLst/>
            <a:rect l="0" t="0" r="0" b="0"/>
            <a:pathLst>
              <a:path w="148336" h="57277">
                <a:moveTo>
                  <a:pt x="148336" y="28575"/>
                </a:moveTo>
                <a:lnTo>
                  <a:pt x="141477" y="8890"/>
                </a:lnTo>
                <a:lnTo>
                  <a:pt x="120650" y="0"/>
                </a:lnTo>
                <a:lnTo>
                  <a:pt x="27686" y="0"/>
                </a:lnTo>
                <a:lnTo>
                  <a:pt x="6857" y="8890"/>
                </a:lnTo>
                <a:lnTo>
                  <a:pt x="0" y="28575"/>
                </a:lnTo>
                <a:lnTo>
                  <a:pt x="6857" y="48387"/>
                </a:lnTo>
                <a:lnTo>
                  <a:pt x="27686" y="57277"/>
                </a:lnTo>
                <a:lnTo>
                  <a:pt x="120650" y="57277"/>
                </a:lnTo>
                <a:lnTo>
                  <a:pt x="141477" y="48387"/>
                </a:lnTo>
                <a:lnTo>
                  <a:pt x="148336" y="28575"/>
                </a:lnTo>
                <a:close/>
                <a:moveTo>
                  <a:pt x="-4213226" y="2019807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00" name="Freeform 600"/>
          <p:cNvSpPr/>
          <p:nvPr/>
        </p:nvSpPr>
        <p:spPr>
          <a:xfrm>
            <a:off x="6204458" y="4293362"/>
            <a:ext cx="148336" cy="57405"/>
          </a:xfrm>
          <a:custGeom>
            <a:avLst/>
            <a:gdLst/>
            <a:ahLst/>
            <a:cxnLst/>
            <a:rect l="0" t="0" r="0" b="0"/>
            <a:pathLst>
              <a:path w="148336" h="57405">
                <a:moveTo>
                  <a:pt x="148336" y="28703"/>
                </a:moveTo>
                <a:lnTo>
                  <a:pt x="141477" y="9018"/>
                </a:lnTo>
                <a:lnTo>
                  <a:pt x="120650" y="0"/>
                </a:lnTo>
                <a:lnTo>
                  <a:pt x="27686" y="0"/>
                </a:lnTo>
                <a:lnTo>
                  <a:pt x="6857" y="9018"/>
                </a:lnTo>
                <a:lnTo>
                  <a:pt x="0" y="28703"/>
                </a:lnTo>
                <a:lnTo>
                  <a:pt x="6857" y="48387"/>
                </a:lnTo>
                <a:lnTo>
                  <a:pt x="27686" y="57405"/>
                </a:lnTo>
                <a:lnTo>
                  <a:pt x="120650" y="57405"/>
                </a:lnTo>
                <a:lnTo>
                  <a:pt x="141477" y="48387"/>
                </a:lnTo>
                <a:lnTo>
                  <a:pt x="148336" y="28703"/>
                </a:lnTo>
                <a:close/>
                <a:moveTo>
                  <a:pt x="-3668523" y="2564638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01" name="Freeform 601"/>
          <p:cNvSpPr/>
          <p:nvPr/>
        </p:nvSpPr>
        <p:spPr>
          <a:xfrm>
            <a:off x="6204458" y="3754755"/>
            <a:ext cx="148336" cy="57278"/>
          </a:xfrm>
          <a:custGeom>
            <a:avLst/>
            <a:gdLst/>
            <a:ahLst/>
            <a:cxnLst/>
            <a:rect l="0" t="0" r="0" b="0"/>
            <a:pathLst>
              <a:path w="148336" h="57278">
                <a:moveTo>
                  <a:pt x="148336" y="28575"/>
                </a:moveTo>
                <a:lnTo>
                  <a:pt x="141477" y="8891"/>
                </a:lnTo>
                <a:lnTo>
                  <a:pt x="120650" y="0"/>
                </a:lnTo>
                <a:lnTo>
                  <a:pt x="27686" y="0"/>
                </a:lnTo>
                <a:lnTo>
                  <a:pt x="6857" y="8891"/>
                </a:lnTo>
                <a:lnTo>
                  <a:pt x="0" y="28575"/>
                </a:lnTo>
                <a:lnTo>
                  <a:pt x="6857" y="48388"/>
                </a:lnTo>
                <a:lnTo>
                  <a:pt x="27686" y="57278"/>
                </a:lnTo>
                <a:lnTo>
                  <a:pt x="120650" y="57278"/>
                </a:lnTo>
                <a:lnTo>
                  <a:pt x="141477" y="48388"/>
                </a:lnTo>
                <a:lnTo>
                  <a:pt x="148336" y="28575"/>
                </a:lnTo>
                <a:close/>
                <a:moveTo>
                  <a:pt x="-3129788" y="3103245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02" name="Freeform 602"/>
          <p:cNvSpPr/>
          <p:nvPr/>
        </p:nvSpPr>
        <p:spPr>
          <a:xfrm>
            <a:off x="6204458" y="3209925"/>
            <a:ext cx="148336" cy="57404"/>
          </a:xfrm>
          <a:custGeom>
            <a:avLst/>
            <a:gdLst/>
            <a:ahLst/>
            <a:cxnLst/>
            <a:rect l="0" t="0" r="0" b="0"/>
            <a:pathLst>
              <a:path w="148336" h="57404">
                <a:moveTo>
                  <a:pt x="148336" y="28703"/>
                </a:moveTo>
                <a:lnTo>
                  <a:pt x="141477" y="9017"/>
                </a:lnTo>
                <a:lnTo>
                  <a:pt x="120650" y="0"/>
                </a:lnTo>
                <a:lnTo>
                  <a:pt x="27686" y="0"/>
                </a:lnTo>
                <a:lnTo>
                  <a:pt x="6857" y="9017"/>
                </a:lnTo>
                <a:lnTo>
                  <a:pt x="0" y="28703"/>
                </a:lnTo>
                <a:lnTo>
                  <a:pt x="6857" y="48387"/>
                </a:lnTo>
                <a:lnTo>
                  <a:pt x="27686" y="57404"/>
                </a:lnTo>
                <a:lnTo>
                  <a:pt x="120650" y="57404"/>
                </a:lnTo>
                <a:lnTo>
                  <a:pt x="141477" y="48387"/>
                </a:lnTo>
                <a:lnTo>
                  <a:pt x="148336" y="28703"/>
                </a:lnTo>
                <a:close/>
                <a:moveTo>
                  <a:pt x="-2585086" y="3648075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03" name="Freeform 603"/>
          <p:cNvSpPr/>
          <p:nvPr/>
        </p:nvSpPr>
        <p:spPr>
          <a:xfrm>
            <a:off x="7934325" y="6591300"/>
            <a:ext cx="2742945" cy="123711"/>
          </a:xfrm>
          <a:custGeom>
            <a:avLst/>
            <a:gdLst/>
            <a:ahLst/>
            <a:cxnLst/>
            <a:rect l="0" t="0" r="0" b="0"/>
            <a:pathLst>
              <a:path w="2742945" h="123711">
                <a:moveTo>
                  <a:pt x="2051177" y="0"/>
                </a:moveTo>
                <a:lnTo>
                  <a:pt x="2081783" y="204"/>
                </a:lnTo>
                <a:lnTo>
                  <a:pt x="2720085" y="12358"/>
                </a:lnTo>
                <a:lnTo>
                  <a:pt x="2737231" y="19952"/>
                </a:lnTo>
                <a:lnTo>
                  <a:pt x="2742945" y="36653"/>
                </a:lnTo>
                <a:lnTo>
                  <a:pt x="2737231" y="53353"/>
                </a:lnTo>
                <a:lnTo>
                  <a:pt x="2720085" y="60948"/>
                </a:lnTo>
                <a:lnTo>
                  <a:pt x="2618105" y="58827"/>
                </a:lnTo>
                <a:lnTo>
                  <a:pt x="2261361" y="51931"/>
                </a:lnTo>
                <a:lnTo>
                  <a:pt x="2159254" y="49810"/>
                </a:lnTo>
                <a:lnTo>
                  <a:pt x="2141601" y="49657"/>
                </a:lnTo>
                <a:lnTo>
                  <a:pt x="2106676" y="48959"/>
                </a:lnTo>
                <a:lnTo>
                  <a:pt x="2089657" y="48794"/>
                </a:lnTo>
                <a:lnTo>
                  <a:pt x="2072513" y="47981"/>
                </a:lnTo>
                <a:lnTo>
                  <a:pt x="2055368" y="47537"/>
                </a:lnTo>
                <a:lnTo>
                  <a:pt x="1995423" y="61380"/>
                </a:lnTo>
                <a:lnTo>
                  <a:pt x="1947544" y="94247"/>
                </a:lnTo>
                <a:lnTo>
                  <a:pt x="1921002" y="106503"/>
                </a:lnTo>
                <a:lnTo>
                  <a:pt x="1873504" y="112167"/>
                </a:lnTo>
                <a:lnTo>
                  <a:pt x="1826514" y="104166"/>
                </a:lnTo>
                <a:lnTo>
                  <a:pt x="1779651" y="88786"/>
                </a:lnTo>
                <a:lnTo>
                  <a:pt x="1733042" y="72289"/>
                </a:lnTo>
                <a:lnTo>
                  <a:pt x="1686559" y="60948"/>
                </a:lnTo>
                <a:lnTo>
                  <a:pt x="1633601" y="57341"/>
                </a:lnTo>
                <a:lnTo>
                  <a:pt x="1580388" y="59817"/>
                </a:lnTo>
                <a:lnTo>
                  <a:pt x="1527302" y="66409"/>
                </a:lnTo>
                <a:lnTo>
                  <a:pt x="1474469" y="75197"/>
                </a:lnTo>
                <a:lnTo>
                  <a:pt x="1421892" y="84240"/>
                </a:lnTo>
                <a:lnTo>
                  <a:pt x="1367155" y="91631"/>
                </a:lnTo>
                <a:lnTo>
                  <a:pt x="1312418" y="98019"/>
                </a:lnTo>
                <a:lnTo>
                  <a:pt x="1257681" y="103328"/>
                </a:lnTo>
                <a:lnTo>
                  <a:pt x="1202943" y="107519"/>
                </a:lnTo>
                <a:lnTo>
                  <a:pt x="1148206" y="110554"/>
                </a:lnTo>
                <a:lnTo>
                  <a:pt x="1101725" y="112078"/>
                </a:lnTo>
                <a:lnTo>
                  <a:pt x="1055116" y="112611"/>
                </a:lnTo>
                <a:lnTo>
                  <a:pt x="1008506" y="112205"/>
                </a:lnTo>
                <a:lnTo>
                  <a:pt x="961897" y="110859"/>
                </a:lnTo>
                <a:lnTo>
                  <a:pt x="915416" y="108611"/>
                </a:lnTo>
                <a:lnTo>
                  <a:pt x="868806" y="105487"/>
                </a:lnTo>
                <a:lnTo>
                  <a:pt x="815593" y="99810"/>
                </a:lnTo>
                <a:lnTo>
                  <a:pt x="762000" y="93295"/>
                </a:lnTo>
                <a:lnTo>
                  <a:pt x="708406" y="89015"/>
                </a:lnTo>
                <a:lnTo>
                  <a:pt x="655319" y="90044"/>
                </a:lnTo>
                <a:lnTo>
                  <a:pt x="602995" y="99416"/>
                </a:lnTo>
                <a:lnTo>
                  <a:pt x="569976" y="108903"/>
                </a:lnTo>
                <a:lnTo>
                  <a:pt x="536447" y="117641"/>
                </a:lnTo>
                <a:lnTo>
                  <a:pt x="502539" y="123330"/>
                </a:lnTo>
                <a:lnTo>
                  <a:pt x="467741" y="123711"/>
                </a:lnTo>
                <a:lnTo>
                  <a:pt x="433069" y="118199"/>
                </a:lnTo>
                <a:lnTo>
                  <a:pt x="399288" y="109157"/>
                </a:lnTo>
                <a:lnTo>
                  <a:pt x="366014" y="98794"/>
                </a:lnTo>
                <a:lnTo>
                  <a:pt x="332358" y="89294"/>
                </a:lnTo>
                <a:lnTo>
                  <a:pt x="282067" y="80569"/>
                </a:lnTo>
                <a:lnTo>
                  <a:pt x="231393" y="77890"/>
                </a:lnTo>
                <a:lnTo>
                  <a:pt x="180467" y="80061"/>
                </a:lnTo>
                <a:lnTo>
                  <a:pt x="129413" y="85840"/>
                </a:lnTo>
                <a:lnTo>
                  <a:pt x="78740" y="94057"/>
                </a:lnTo>
                <a:lnTo>
                  <a:pt x="28447" y="103467"/>
                </a:lnTo>
                <a:lnTo>
                  <a:pt x="9906" y="99022"/>
                </a:lnTo>
                <a:lnTo>
                  <a:pt x="0" y="83846"/>
                </a:lnTo>
                <a:lnTo>
                  <a:pt x="1143" y="66599"/>
                </a:lnTo>
                <a:lnTo>
                  <a:pt x="15747" y="55893"/>
                </a:lnTo>
                <a:lnTo>
                  <a:pt x="68833" y="46267"/>
                </a:lnTo>
                <a:lnTo>
                  <a:pt x="122428" y="37707"/>
                </a:lnTo>
                <a:lnTo>
                  <a:pt x="176276" y="31535"/>
                </a:lnTo>
                <a:lnTo>
                  <a:pt x="230251" y="29058"/>
                </a:lnTo>
                <a:lnTo>
                  <a:pt x="284353" y="31585"/>
                </a:lnTo>
                <a:lnTo>
                  <a:pt x="316230" y="36615"/>
                </a:lnTo>
                <a:lnTo>
                  <a:pt x="347344" y="43739"/>
                </a:lnTo>
                <a:lnTo>
                  <a:pt x="378079" y="52375"/>
                </a:lnTo>
                <a:lnTo>
                  <a:pt x="408940" y="61964"/>
                </a:lnTo>
                <a:lnTo>
                  <a:pt x="441197" y="70028"/>
                </a:lnTo>
                <a:lnTo>
                  <a:pt x="472820" y="74105"/>
                </a:lnTo>
                <a:lnTo>
                  <a:pt x="504443" y="73635"/>
                </a:lnTo>
                <a:lnTo>
                  <a:pt x="537336" y="68034"/>
                </a:lnTo>
                <a:lnTo>
                  <a:pt x="567435" y="59335"/>
                </a:lnTo>
                <a:lnTo>
                  <a:pt x="597407" y="50826"/>
                </a:lnTo>
                <a:lnTo>
                  <a:pt x="627760" y="43828"/>
                </a:lnTo>
                <a:lnTo>
                  <a:pt x="659003" y="39688"/>
                </a:lnTo>
                <a:lnTo>
                  <a:pt x="692150" y="39282"/>
                </a:lnTo>
                <a:lnTo>
                  <a:pt x="725678" y="41707"/>
                </a:lnTo>
                <a:lnTo>
                  <a:pt x="759079" y="45670"/>
                </a:lnTo>
                <a:lnTo>
                  <a:pt x="792353" y="49810"/>
                </a:lnTo>
                <a:lnTo>
                  <a:pt x="847090" y="55169"/>
                </a:lnTo>
                <a:lnTo>
                  <a:pt x="902207" y="59170"/>
                </a:lnTo>
                <a:lnTo>
                  <a:pt x="957326" y="61913"/>
                </a:lnTo>
                <a:lnTo>
                  <a:pt x="1012570" y="63488"/>
                </a:lnTo>
                <a:lnTo>
                  <a:pt x="1067816" y="63983"/>
                </a:lnTo>
                <a:lnTo>
                  <a:pt x="1114425" y="63056"/>
                </a:lnTo>
                <a:lnTo>
                  <a:pt x="1161033" y="61291"/>
                </a:lnTo>
                <a:lnTo>
                  <a:pt x="1207643" y="58675"/>
                </a:lnTo>
                <a:lnTo>
                  <a:pt x="1254125" y="55207"/>
                </a:lnTo>
                <a:lnTo>
                  <a:pt x="1300733" y="50915"/>
                </a:lnTo>
                <a:lnTo>
                  <a:pt x="1347343" y="45759"/>
                </a:lnTo>
                <a:lnTo>
                  <a:pt x="1401318" y="37986"/>
                </a:lnTo>
                <a:lnTo>
                  <a:pt x="1455293" y="28995"/>
                </a:lnTo>
                <a:lnTo>
                  <a:pt x="1509014" y="20257"/>
                </a:lnTo>
                <a:lnTo>
                  <a:pt x="1562989" y="13209"/>
                </a:lnTo>
                <a:lnTo>
                  <a:pt x="1616964" y="9322"/>
                </a:lnTo>
                <a:lnTo>
                  <a:pt x="1649476" y="9551"/>
                </a:lnTo>
                <a:lnTo>
                  <a:pt x="1714500" y="16866"/>
                </a:lnTo>
                <a:lnTo>
                  <a:pt x="1774952" y="34062"/>
                </a:lnTo>
                <a:lnTo>
                  <a:pt x="1803527" y="44755"/>
                </a:lnTo>
                <a:lnTo>
                  <a:pt x="1832482" y="54687"/>
                </a:lnTo>
                <a:lnTo>
                  <a:pt x="1862201" y="61964"/>
                </a:lnTo>
                <a:lnTo>
                  <a:pt x="1876170" y="63450"/>
                </a:lnTo>
                <a:lnTo>
                  <a:pt x="1890394" y="63221"/>
                </a:lnTo>
                <a:lnTo>
                  <a:pt x="1930654" y="49823"/>
                </a:lnTo>
                <a:lnTo>
                  <a:pt x="1953641" y="32271"/>
                </a:lnTo>
                <a:lnTo>
                  <a:pt x="1965070" y="23496"/>
                </a:lnTo>
                <a:lnTo>
                  <a:pt x="1992376" y="9462"/>
                </a:lnTo>
                <a:lnTo>
                  <a:pt x="2021205" y="2363"/>
                </a:lnTo>
                <a:lnTo>
                  <a:pt x="2051177" y="0"/>
                </a:lnTo>
                <a:close/>
                <a:moveTo>
                  <a:pt x="-7667625" y="266700"/>
                </a:moveTo>
              </a:path>
            </a:pathLst>
          </a:custGeom>
          <a:solidFill>
            <a:srgbClr val="EBBD1F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04" name="Freeform 604"/>
          <p:cNvSpPr/>
          <p:nvPr/>
        </p:nvSpPr>
        <p:spPr>
          <a:xfrm>
            <a:off x="9715500" y="0"/>
            <a:ext cx="2475992" cy="2124075"/>
          </a:xfrm>
          <a:custGeom>
            <a:avLst/>
            <a:gdLst/>
            <a:ahLst/>
            <a:cxnLst/>
            <a:rect l="0" t="0" r="0" b="0"/>
            <a:pathLst>
              <a:path w="2475992" h="2124075">
                <a:moveTo>
                  <a:pt x="2475992" y="0"/>
                </a:moveTo>
                <a:lnTo>
                  <a:pt x="94868" y="0"/>
                </a:lnTo>
                <a:lnTo>
                  <a:pt x="83819" y="31243"/>
                </a:lnTo>
                <a:lnTo>
                  <a:pt x="69595" y="75184"/>
                </a:lnTo>
                <a:lnTo>
                  <a:pt x="56642" y="119507"/>
                </a:lnTo>
                <a:lnTo>
                  <a:pt x="44957" y="164466"/>
                </a:lnTo>
                <a:lnTo>
                  <a:pt x="34543" y="209932"/>
                </a:lnTo>
                <a:lnTo>
                  <a:pt x="25527" y="255906"/>
                </a:lnTo>
                <a:lnTo>
                  <a:pt x="17780" y="302260"/>
                </a:lnTo>
                <a:lnTo>
                  <a:pt x="11430" y="349123"/>
                </a:lnTo>
                <a:lnTo>
                  <a:pt x="6477" y="396367"/>
                </a:lnTo>
                <a:lnTo>
                  <a:pt x="2920" y="444120"/>
                </a:lnTo>
                <a:lnTo>
                  <a:pt x="761" y="492125"/>
                </a:lnTo>
                <a:lnTo>
                  <a:pt x="0" y="540512"/>
                </a:lnTo>
                <a:lnTo>
                  <a:pt x="761" y="588899"/>
                </a:lnTo>
                <a:lnTo>
                  <a:pt x="2920" y="637033"/>
                </a:lnTo>
                <a:lnTo>
                  <a:pt x="6477" y="684658"/>
                </a:lnTo>
                <a:lnTo>
                  <a:pt x="11430" y="731902"/>
                </a:lnTo>
                <a:lnTo>
                  <a:pt x="17780" y="778765"/>
                </a:lnTo>
                <a:lnTo>
                  <a:pt x="25527" y="825247"/>
                </a:lnTo>
                <a:lnTo>
                  <a:pt x="34543" y="871093"/>
                </a:lnTo>
                <a:lnTo>
                  <a:pt x="44957" y="916560"/>
                </a:lnTo>
                <a:lnTo>
                  <a:pt x="56642" y="961517"/>
                </a:lnTo>
                <a:lnTo>
                  <a:pt x="69595" y="1005967"/>
                </a:lnTo>
                <a:lnTo>
                  <a:pt x="83819" y="1049783"/>
                </a:lnTo>
                <a:lnTo>
                  <a:pt x="99186" y="1093090"/>
                </a:lnTo>
                <a:lnTo>
                  <a:pt x="115823" y="1135761"/>
                </a:lnTo>
                <a:lnTo>
                  <a:pt x="133731" y="1177925"/>
                </a:lnTo>
                <a:lnTo>
                  <a:pt x="152654" y="1219328"/>
                </a:lnTo>
                <a:lnTo>
                  <a:pt x="172846" y="1260222"/>
                </a:lnTo>
                <a:lnTo>
                  <a:pt x="194182" y="1300354"/>
                </a:lnTo>
                <a:lnTo>
                  <a:pt x="216534" y="1339850"/>
                </a:lnTo>
                <a:lnTo>
                  <a:pt x="240030" y="1378585"/>
                </a:lnTo>
                <a:lnTo>
                  <a:pt x="264541" y="1416559"/>
                </a:lnTo>
                <a:lnTo>
                  <a:pt x="290068" y="1453770"/>
                </a:lnTo>
                <a:lnTo>
                  <a:pt x="316738" y="1490218"/>
                </a:lnTo>
                <a:lnTo>
                  <a:pt x="344423" y="1525905"/>
                </a:lnTo>
                <a:lnTo>
                  <a:pt x="372998" y="1560830"/>
                </a:lnTo>
                <a:lnTo>
                  <a:pt x="402590" y="1594866"/>
                </a:lnTo>
                <a:lnTo>
                  <a:pt x="433069" y="1628014"/>
                </a:lnTo>
                <a:lnTo>
                  <a:pt x="464439" y="1660272"/>
                </a:lnTo>
                <a:lnTo>
                  <a:pt x="496823" y="1691641"/>
                </a:lnTo>
                <a:lnTo>
                  <a:pt x="530097" y="1722121"/>
                </a:lnTo>
                <a:lnTo>
                  <a:pt x="564133" y="1751711"/>
                </a:lnTo>
                <a:lnTo>
                  <a:pt x="599058" y="1780286"/>
                </a:lnTo>
                <a:lnTo>
                  <a:pt x="634745" y="1807846"/>
                </a:lnTo>
                <a:lnTo>
                  <a:pt x="671321" y="1834389"/>
                </a:lnTo>
                <a:lnTo>
                  <a:pt x="708532" y="1859916"/>
                </a:lnTo>
                <a:lnTo>
                  <a:pt x="746632" y="1884427"/>
                </a:lnTo>
                <a:lnTo>
                  <a:pt x="785494" y="1907922"/>
                </a:lnTo>
                <a:lnTo>
                  <a:pt x="824992" y="1930273"/>
                </a:lnTo>
                <a:lnTo>
                  <a:pt x="865123" y="1951483"/>
                </a:lnTo>
                <a:lnTo>
                  <a:pt x="906018" y="1971675"/>
                </a:lnTo>
                <a:lnTo>
                  <a:pt x="947546" y="1990598"/>
                </a:lnTo>
                <a:lnTo>
                  <a:pt x="989710" y="2008379"/>
                </a:lnTo>
                <a:lnTo>
                  <a:pt x="1032509" y="2025016"/>
                </a:lnTo>
                <a:lnTo>
                  <a:pt x="1075817" y="2040383"/>
                </a:lnTo>
                <a:lnTo>
                  <a:pt x="1119758" y="2054606"/>
                </a:lnTo>
                <a:lnTo>
                  <a:pt x="1164208" y="2067560"/>
                </a:lnTo>
                <a:lnTo>
                  <a:pt x="1209293" y="2079117"/>
                </a:lnTo>
                <a:lnTo>
                  <a:pt x="1254759" y="2089531"/>
                </a:lnTo>
                <a:lnTo>
                  <a:pt x="1300733" y="2098548"/>
                </a:lnTo>
                <a:lnTo>
                  <a:pt x="1347216" y="2106296"/>
                </a:lnTo>
                <a:lnTo>
                  <a:pt x="1394206" y="2112646"/>
                </a:lnTo>
                <a:lnTo>
                  <a:pt x="1441450" y="2117598"/>
                </a:lnTo>
                <a:lnTo>
                  <a:pt x="1489202" y="2121154"/>
                </a:lnTo>
                <a:lnTo>
                  <a:pt x="1537334" y="2123314"/>
                </a:lnTo>
                <a:lnTo>
                  <a:pt x="1585848" y="2124075"/>
                </a:lnTo>
                <a:lnTo>
                  <a:pt x="1634363" y="2123314"/>
                </a:lnTo>
                <a:lnTo>
                  <a:pt x="1682368" y="2121154"/>
                </a:lnTo>
                <a:lnTo>
                  <a:pt x="1730120" y="2117598"/>
                </a:lnTo>
                <a:lnTo>
                  <a:pt x="1777492" y="2112646"/>
                </a:lnTo>
                <a:lnTo>
                  <a:pt x="1824355" y="2106296"/>
                </a:lnTo>
                <a:lnTo>
                  <a:pt x="1870836" y="2098548"/>
                </a:lnTo>
                <a:lnTo>
                  <a:pt x="1916810" y="2089531"/>
                </a:lnTo>
                <a:lnTo>
                  <a:pt x="1962404" y="2079117"/>
                </a:lnTo>
                <a:lnTo>
                  <a:pt x="2007361" y="2067560"/>
                </a:lnTo>
                <a:lnTo>
                  <a:pt x="2051811" y="2054606"/>
                </a:lnTo>
                <a:lnTo>
                  <a:pt x="2095754" y="2040383"/>
                </a:lnTo>
                <a:lnTo>
                  <a:pt x="2139188" y="2025016"/>
                </a:lnTo>
                <a:lnTo>
                  <a:pt x="2181986" y="2008379"/>
                </a:lnTo>
                <a:lnTo>
                  <a:pt x="2224151" y="1990598"/>
                </a:lnTo>
                <a:lnTo>
                  <a:pt x="2265680" y="1971675"/>
                </a:lnTo>
                <a:lnTo>
                  <a:pt x="2306446" y="1951483"/>
                </a:lnTo>
                <a:lnTo>
                  <a:pt x="2346706" y="1930273"/>
                </a:lnTo>
                <a:lnTo>
                  <a:pt x="2386203" y="1907922"/>
                </a:lnTo>
                <a:lnTo>
                  <a:pt x="2425065" y="1884427"/>
                </a:lnTo>
                <a:lnTo>
                  <a:pt x="2463038" y="1859916"/>
                </a:lnTo>
                <a:lnTo>
                  <a:pt x="2475992" y="1851025"/>
                </a:lnTo>
                <a:lnTo>
                  <a:pt x="2475992" y="0"/>
                </a:lnTo>
                <a:close/>
                <a:moveTo>
                  <a:pt x="-2857500" y="6858000"/>
                </a:moveTo>
              </a:path>
            </a:pathLst>
          </a:custGeom>
          <a:solidFill>
            <a:srgbClr val="7DACE1">
              <a:alpha val="6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05" name="Rectangle 605"/>
          <p:cNvSpPr/>
          <p:nvPr/>
        </p:nvSpPr>
        <p:spPr>
          <a:xfrm>
            <a:off x="11418951" y="6400508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18</a:t>
            </a:r>
          </a:p>
        </p:txBody>
      </p:sp>
      <p:sp>
        <p:nvSpPr>
          <p:cNvPr id="606" name="Rectangle 606"/>
          <p:cNvSpPr/>
          <p:nvPr/>
        </p:nvSpPr>
        <p:spPr>
          <a:xfrm>
            <a:off x="630555" y="493213"/>
            <a:ext cx="5492923" cy="110851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Wha</a:t>
            </a:r>
            <a:r>
              <a:rPr lang="fr-FR" sz="3604" b="1" i="0" spc="1019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consultin</a:t>
            </a:r>
            <a:r>
              <a:rPr lang="fr-FR" sz="3604" b="1" i="0" spc="993" baseline="0" dirty="0">
                <a:solidFill>
                  <a:srgbClr val="FFFFFF"/>
                </a:solidFill>
                <a:latin typeface="Arial"/>
              </a:rPr>
              <a:t>g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firms </a:t>
            </a:r>
          </a:p>
          <a:p>
            <a:pPr marL="0">
              <a:lnSpc>
                <a:spcPts val="3904"/>
              </a:lnSpc>
            </a:pP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lik</a:t>
            </a:r>
            <a:r>
              <a:rPr lang="fr-FR" sz="3604" b="1" i="0" spc="1001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durin</a:t>
            </a:r>
            <a:r>
              <a:rPr lang="fr-FR" sz="3604" b="1" i="0" spc="969" baseline="0" dirty="0">
                <a:solidFill>
                  <a:srgbClr val="FFFFFF"/>
                </a:solidFill>
                <a:latin typeface="Arial"/>
              </a:rPr>
              <a:t>g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th</a:t>
            </a:r>
            <a:r>
              <a:rPr lang="fr-FR" sz="3604" b="1" i="0" spc="1016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interview?</a:t>
            </a:r>
          </a:p>
        </p:txBody>
      </p:sp>
      <p:sp>
        <p:nvSpPr>
          <p:cNvPr id="607" name="Rectangle 607"/>
          <p:cNvSpPr/>
          <p:nvPr/>
        </p:nvSpPr>
        <p:spPr>
          <a:xfrm>
            <a:off x="907732" y="3055466"/>
            <a:ext cx="1782027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Structurin</a:t>
            </a:r>
            <a:r>
              <a:rPr lang="fr-FR" sz="1802" b="1" i="0" spc="471" baseline="0" dirty="0">
                <a:solidFill>
                  <a:srgbClr val="FFFFFF"/>
                </a:solidFill>
                <a:latin typeface="Arial"/>
              </a:rPr>
              <a:t>g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skills</a:t>
            </a:r>
          </a:p>
        </p:txBody>
      </p:sp>
      <p:sp>
        <p:nvSpPr>
          <p:cNvPr id="608" name="Rectangle 608"/>
          <p:cNvSpPr/>
          <p:nvPr/>
        </p:nvSpPr>
        <p:spPr>
          <a:xfrm>
            <a:off x="907732" y="3618457"/>
            <a:ext cx="1802880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Driv</a:t>
            </a:r>
            <a:r>
              <a:rPr lang="fr-FR" sz="1802" b="1" i="0" spc="502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an</a:t>
            </a:r>
            <a:r>
              <a:rPr lang="fr-FR" sz="1802" b="0" i="0" spc="441" baseline="0" dirty="0">
                <a:solidFill>
                  <a:srgbClr val="FFFFFF"/>
                </a:solidFill>
                <a:latin typeface="Arial"/>
              </a:rPr>
              <a:t>d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impact</a:t>
            </a:r>
          </a:p>
        </p:txBody>
      </p:sp>
      <p:sp>
        <p:nvSpPr>
          <p:cNvPr id="609" name="Rectangle 609"/>
          <p:cNvSpPr/>
          <p:nvPr/>
        </p:nvSpPr>
        <p:spPr>
          <a:xfrm>
            <a:off x="907732" y="4114392"/>
            <a:ext cx="4346250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A</a:t>
            </a:r>
            <a:r>
              <a:rPr lang="fr-FR" sz="1802" b="0" i="0" spc="472" baseline="0" dirty="0">
                <a:solidFill>
                  <a:srgbClr val="FFFFFF"/>
                </a:solidFill>
                <a:latin typeface="Arial"/>
              </a:rPr>
              <a:t>n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efficien</a:t>
            </a:r>
            <a:r>
              <a:rPr lang="fr-FR" sz="1802" b="0" i="0" spc="469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and impactfu</a:t>
            </a:r>
            <a:r>
              <a:rPr lang="fr-FR" sz="1802" b="0" i="0" spc="479" baseline="0" dirty="0">
                <a:solidFill>
                  <a:srgbClr val="FFFFFF"/>
                </a:solidFill>
                <a:latin typeface="Arial"/>
              </a:rPr>
              <a:t>l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communication </a:t>
            </a:r>
          </a:p>
        </p:txBody>
      </p:sp>
      <p:sp>
        <p:nvSpPr>
          <p:cNvPr id="610" name="Rectangle 610"/>
          <p:cNvSpPr/>
          <p:nvPr/>
        </p:nvSpPr>
        <p:spPr>
          <a:xfrm>
            <a:off x="907732" y="4667477"/>
            <a:ext cx="2659878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Excellent analytica</a:t>
            </a:r>
            <a:r>
              <a:rPr lang="fr-FR" sz="1802" b="1" i="0" spc="557" baseline="0" dirty="0">
                <a:solidFill>
                  <a:srgbClr val="FFFFFF"/>
                </a:solidFill>
                <a:latin typeface="Arial"/>
              </a:rPr>
              <a:t>l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skills</a:t>
            </a:r>
          </a:p>
        </p:txBody>
      </p:sp>
      <p:sp>
        <p:nvSpPr>
          <p:cNvPr id="611" name="Rectangle 611"/>
          <p:cNvSpPr/>
          <p:nvPr/>
        </p:nvSpPr>
        <p:spPr>
          <a:xfrm>
            <a:off x="6434454" y="3056228"/>
            <a:ext cx="1876476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274" baseline="0" dirty="0">
                <a:solidFill>
                  <a:srgbClr val="FFFFFF"/>
                </a:solidFill>
                <a:latin typeface="Arial"/>
              </a:rPr>
              <a:t>A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busines</a:t>
            </a:r>
            <a:r>
              <a:rPr lang="fr-FR" sz="1802" b="1" i="0" spc="498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sense</a:t>
            </a:r>
          </a:p>
        </p:txBody>
      </p:sp>
      <p:sp>
        <p:nvSpPr>
          <p:cNvPr id="612" name="Rectangle 612"/>
          <p:cNvSpPr/>
          <p:nvPr/>
        </p:nvSpPr>
        <p:spPr>
          <a:xfrm>
            <a:off x="6434454" y="3618711"/>
            <a:ext cx="3434700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Interpersona</a:t>
            </a:r>
            <a:r>
              <a:rPr lang="fr-FR" sz="1802" b="1" i="0" spc="479" baseline="0" dirty="0">
                <a:solidFill>
                  <a:srgbClr val="FFFFFF"/>
                </a:solidFill>
                <a:latin typeface="Arial"/>
              </a:rPr>
              <a:t>l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skills </a:t>
            </a:r>
            <a:r>
              <a:rPr lang="fr-FR" sz="1802" b="1" i="0" spc="520" baseline="0" dirty="0">
                <a:solidFill>
                  <a:srgbClr val="FFFFFF"/>
                </a:solidFill>
                <a:latin typeface="Arial"/>
              </a:rPr>
              <a:t>&amp;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teamwork</a:t>
            </a:r>
          </a:p>
        </p:txBody>
      </p:sp>
      <p:sp>
        <p:nvSpPr>
          <p:cNvPr id="613" name="Rectangle 613"/>
          <p:cNvSpPr/>
          <p:nvPr/>
        </p:nvSpPr>
        <p:spPr>
          <a:xfrm>
            <a:off x="6434454" y="4155032"/>
            <a:ext cx="1077872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Synthesis</a:t>
            </a:r>
          </a:p>
        </p:txBody>
      </p:sp>
      <p:sp>
        <p:nvSpPr>
          <p:cNvPr id="614" name="Rectangle 614"/>
          <p:cNvSpPr/>
          <p:nvPr/>
        </p:nvSpPr>
        <p:spPr>
          <a:xfrm>
            <a:off x="6434454" y="4704561"/>
            <a:ext cx="2141883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Inductiv</a:t>
            </a:r>
            <a:r>
              <a:rPr lang="fr-FR" sz="1802" b="1" i="0" spc="518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reasoning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" name="Freeform 615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16" name="Freeform 616"/>
          <p:cNvSpPr/>
          <p:nvPr/>
        </p:nvSpPr>
        <p:spPr>
          <a:xfrm>
            <a:off x="666750" y="1143030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17" name="Freeform 617"/>
          <p:cNvSpPr/>
          <p:nvPr/>
        </p:nvSpPr>
        <p:spPr>
          <a:xfrm>
            <a:off x="671512" y="1147729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noFill/>
          <a:ln w="10666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618" name="Picture 618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486650" y="0"/>
            <a:ext cx="4705350" cy="6858000"/>
          </a:xfrm>
          <a:prstGeom prst="rect">
            <a:avLst/>
          </a:prstGeom>
          <a:noFill/>
        </p:spPr>
      </p:pic>
      <p:pic>
        <p:nvPicPr>
          <p:cNvPr id="619" name="Picture 619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608517" y="4523477"/>
            <a:ext cx="1062025" cy="2334523"/>
          </a:xfrm>
          <a:prstGeom prst="rect">
            <a:avLst/>
          </a:prstGeom>
          <a:noFill/>
        </p:spPr>
      </p:pic>
      <p:pic>
        <p:nvPicPr>
          <p:cNvPr id="620" name="Picture 620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949305" y="3218244"/>
            <a:ext cx="608837" cy="3639756"/>
          </a:xfrm>
          <a:prstGeom prst="rect">
            <a:avLst/>
          </a:prstGeom>
          <a:noFill/>
        </p:spPr>
      </p:pic>
      <p:sp>
        <p:nvSpPr>
          <p:cNvPr id="621" name="Rectangle 621"/>
          <p:cNvSpPr/>
          <p:nvPr/>
        </p:nvSpPr>
        <p:spPr>
          <a:xfrm>
            <a:off x="11418951" y="6397333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19</a:t>
            </a:r>
          </a:p>
        </p:txBody>
      </p:sp>
      <p:sp>
        <p:nvSpPr>
          <p:cNvPr id="622" name="Rectangle 622"/>
          <p:cNvSpPr/>
          <p:nvPr/>
        </p:nvSpPr>
        <p:spPr>
          <a:xfrm>
            <a:off x="630555" y="488768"/>
            <a:ext cx="4536803" cy="61258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Ke</a:t>
            </a:r>
            <a:r>
              <a:rPr lang="fr-FR" sz="3604" b="1" i="0" spc="980" baseline="0" dirty="0">
                <a:solidFill>
                  <a:srgbClr val="466CAD"/>
                </a:solidFill>
                <a:latin typeface="Arial"/>
              </a:rPr>
              <a:t>y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succes</a:t>
            </a:r>
            <a:r>
              <a:rPr lang="fr-FR" sz="3604" b="1" i="0" spc="981" baseline="0" dirty="0">
                <a:solidFill>
                  <a:srgbClr val="466CAD"/>
                </a:solidFill>
                <a:latin typeface="Arial"/>
              </a:rPr>
              <a:t>s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Factors</a:t>
            </a:r>
          </a:p>
        </p:txBody>
      </p:sp>
      <p:sp>
        <p:nvSpPr>
          <p:cNvPr id="623" name="Rectangle 623"/>
          <p:cNvSpPr/>
          <p:nvPr/>
        </p:nvSpPr>
        <p:spPr>
          <a:xfrm>
            <a:off x="630555" y="2071597"/>
            <a:ext cx="5412253" cy="61147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Prepar</a:t>
            </a:r>
            <a:r>
              <a:rPr lang="fr-FR" sz="1802" b="1" i="0" spc="471" baseline="0" dirty="0">
                <a:solidFill>
                  <a:srgbClr val="3660A1"/>
                </a:solidFill>
                <a:latin typeface="Arial"/>
              </a:rPr>
              <a:t>e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a</a:t>
            </a:r>
            <a:r>
              <a:rPr lang="fr-FR" sz="1802" b="1" i="0" spc="505" baseline="0" dirty="0">
                <a:solidFill>
                  <a:srgbClr val="3660A1"/>
                </a:solidFill>
                <a:latin typeface="Arial"/>
              </a:rPr>
              <a:t>s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much a</a:t>
            </a:r>
            <a:r>
              <a:rPr lang="fr-FR" sz="1802" b="1" i="0" spc="502" baseline="0" dirty="0">
                <a:solidFill>
                  <a:srgbClr val="3660A1"/>
                </a:solidFill>
                <a:latin typeface="Arial"/>
              </a:rPr>
              <a:t>s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yo</a:t>
            </a:r>
            <a:r>
              <a:rPr lang="fr-FR" sz="1802" b="1" i="0" spc="498" baseline="0" dirty="0">
                <a:solidFill>
                  <a:srgbClr val="3660A1"/>
                </a:solidFill>
                <a:latin typeface="Arial"/>
              </a:rPr>
              <a:t>u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can</a:t>
            </a:r>
            <a:r>
              <a:rPr lang="fr-FR" sz="1802" b="1" i="0" spc="508" baseline="0" dirty="0">
                <a:solidFill>
                  <a:srgbClr val="3660A1"/>
                </a:solidFill>
                <a:latin typeface="Arial"/>
              </a:rPr>
              <a:t>,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throug</a:t>
            </a:r>
            <a:r>
              <a:rPr lang="fr-FR" sz="1802" b="0" i="0" spc="480" baseline="0" dirty="0">
                <a:solidFill>
                  <a:srgbClr val="555555"/>
                </a:solidFill>
                <a:latin typeface="Arial"/>
              </a:rPr>
              <a:t>h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cas</a:t>
            </a:r>
            <a:r>
              <a:rPr lang="fr-FR" sz="1802" b="1" i="0" spc="481" baseline="0" dirty="0">
                <a:solidFill>
                  <a:srgbClr val="3660A1"/>
                </a:solidFill>
                <a:latin typeface="Arial"/>
              </a:rPr>
              <a:t>e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studies</a:t>
            </a:r>
          </a:p>
          <a:p>
            <a:pPr marL="0">
              <a:lnSpc>
                <a:spcPts val="2403"/>
              </a:lnSpc>
            </a:pP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(o</a:t>
            </a:r>
            <a:r>
              <a:rPr lang="fr-FR" sz="1802" b="0" i="0" spc="494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you</a:t>
            </a:r>
            <a:r>
              <a:rPr lang="fr-FR" sz="1802" b="0" i="0" spc="542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own</a:t>
            </a:r>
            <a:r>
              <a:rPr lang="fr-FR" sz="1802" b="0" i="0" spc="552" baseline="0" dirty="0">
                <a:solidFill>
                  <a:srgbClr val="555555"/>
                </a:solidFill>
                <a:latin typeface="Arial"/>
              </a:rPr>
              <a:t>,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wit</a:t>
            </a:r>
            <a:r>
              <a:rPr lang="fr-FR" sz="1802" b="0" i="0" spc="485" baseline="0" dirty="0">
                <a:solidFill>
                  <a:srgbClr val="555555"/>
                </a:solidFill>
                <a:latin typeface="Arial"/>
              </a:rPr>
              <a:t>h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friends)</a:t>
            </a:r>
          </a:p>
        </p:txBody>
      </p:sp>
      <p:sp>
        <p:nvSpPr>
          <p:cNvPr id="624" name="Rectangle 624"/>
          <p:cNvSpPr/>
          <p:nvPr/>
        </p:nvSpPr>
        <p:spPr>
          <a:xfrm>
            <a:off x="630555" y="2968216"/>
            <a:ext cx="5090957" cy="61147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Mak</a:t>
            </a:r>
            <a:r>
              <a:rPr lang="fr-FR" sz="1802" b="0" i="0" spc="494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you</a:t>
            </a:r>
            <a:r>
              <a:rPr lang="fr-FR" sz="1802" b="0" i="0" spc="543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ow</a:t>
            </a:r>
            <a:r>
              <a:rPr lang="fr-FR" sz="1802" b="0" i="0" spc="520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due diligenc</a:t>
            </a:r>
            <a:r>
              <a:rPr lang="fr-FR" sz="1802" b="1" i="0" spc="491" baseline="0" dirty="0">
                <a:solidFill>
                  <a:srgbClr val="3660A1"/>
                </a:solidFill>
                <a:latin typeface="Arial"/>
              </a:rPr>
              <a:t>e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o</a:t>
            </a:r>
            <a:r>
              <a:rPr lang="fr-FR" sz="1802" b="1" i="0" spc="469" baseline="0" dirty="0">
                <a:solidFill>
                  <a:srgbClr val="3660A1"/>
                </a:solidFill>
                <a:latin typeface="Arial"/>
              </a:rPr>
              <a:t>n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the different </a:t>
            </a:r>
          </a:p>
          <a:p>
            <a:pPr marL="0">
              <a:lnSpc>
                <a:spcPts val="2403"/>
              </a:lnSpc>
            </a:pP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consultin</a:t>
            </a:r>
            <a:r>
              <a:rPr lang="fr-FR" sz="1802" b="1" i="0" spc="459" baseline="0" dirty="0">
                <a:solidFill>
                  <a:srgbClr val="3660A1"/>
                </a:solidFill>
                <a:latin typeface="Arial"/>
              </a:rPr>
              <a:t>g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firm</a:t>
            </a:r>
            <a:r>
              <a:rPr lang="fr-FR" sz="1802" b="1" i="0" spc="488" baseline="0" dirty="0">
                <a:solidFill>
                  <a:srgbClr val="3660A1"/>
                </a:solidFill>
                <a:latin typeface="Arial"/>
              </a:rPr>
              <a:t>s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an</a:t>
            </a:r>
            <a:r>
              <a:rPr lang="fr-FR" sz="1802" b="1" i="0" spc="493" baseline="0" dirty="0">
                <a:solidFill>
                  <a:srgbClr val="3660A1"/>
                </a:solidFill>
                <a:latin typeface="Arial"/>
              </a:rPr>
              <a:t>d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ke</a:t>
            </a:r>
            <a:r>
              <a:rPr lang="fr-FR" sz="1802" b="1" i="0" spc="449" baseline="0" dirty="0">
                <a:solidFill>
                  <a:srgbClr val="3660A1"/>
                </a:solidFill>
                <a:latin typeface="Arial"/>
              </a:rPr>
              <a:t>y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differentiatin</a:t>
            </a:r>
            <a:r>
              <a:rPr lang="fr-FR" sz="1802" b="1" i="0" spc="535" baseline="0" dirty="0">
                <a:solidFill>
                  <a:srgbClr val="3660A1"/>
                </a:solidFill>
                <a:latin typeface="Arial"/>
              </a:rPr>
              <a:t>g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factors</a:t>
            </a:r>
          </a:p>
        </p:txBody>
      </p:sp>
      <p:sp>
        <p:nvSpPr>
          <p:cNvPr id="625" name="Rectangle 625"/>
          <p:cNvSpPr/>
          <p:nvPr/>
        </p:nvSpPr>
        <p:spPr>
          <a:xfrm>
            <a:off x="630555" y="3912461"/>
            <a:ext cx="4420515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Loo</a:t>
            </a:r>
            <a:r>
              <a:rPr lang="fr-FR" sz="1802" b="1" i="0" spc="493" baseline="0" dirty="0">
                <a:solidFill>
                  <a:srgbClr val="3660A1"/>
                </a:solidFill>
                <a:latin typeface="Arial"/>
              </a:rPr>
              <a:t>k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professiona</a:t>
            </a:r>
            <a:r>
              <a:rPr lang="fr-FR" sz="1802" b="1" i="0" spc="503" baseline="0" dirty="0">
                <a:solidFill>
                  <a:srgbClr val="3660A1"/>
                </a:solidFill>
                <a:latin typeface="Arial"/>
              </a:rPr>
              <a:t>l</a:t>
            </a:r>
            <a:r>
              <a:rPr lang="fr-FR" sz="1802" b="1" i="0" spc="499" baseline="0" dirty="0">
                <a:solidFill>
                  <a:srgbClr val="3660A1"/>
                </a:solidFill>
                <a:latin typeface="Arial"/>
              </a:rPr>
              <a:t>-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eve</a:t>
            </a:r>
            <a:r>
              <a:rPr lang="fr-FR" sz="1802" b="0" i="0" spc="540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i</a:t>
            </a:r>
            <a:r>
              <a:rPr lang="fr-FR" sz="1802" b="0" i="0" spc="514" baseline="0" dirty="0">
                <a:solidFill>
                  <a:srgbClr val="555555"/>
                </a:solidFill>
                <a:latin typeface="Arial"/>
              </a:rPr>
              <a:t>f</a:t>
            </a:r>
            <a:r>
              <a:rPr lang="fr-FR" sz="1802" b="0" i="0" spc="492" baseline="0" dirty="0">
                <a:solidFill>
                  <a:srgbClr val="555555"/>
                </a:solidFill>
                <a:latin typeface="Arial"/>
              </a:rPr>
              <a:t>a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bi</a:t>
            </a:r>
            <a:r>
              <a:rPr lang="fr-FR" sz="1802" b="0" i="0" spc="465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ol</a:t>
            </a:r>
            <a:r>
              <a:rPr lang="fr-FR" sz="1802" b="0" i="0" spc="465" baseline="0" dirty="0">
                <a:solidFill>
                  <a:srgbClr val="555555"/>
                </a:solidFill>
                <a:latin typeface="Arial"/>
              </a:rPr>
              <a:t>d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school</a:t>
            </a:r>
          </a:p>
        </p:txBody>
      </p:sp>
      <p:sp>
        <p:nvSpPr>
          <p:cNvPr id="626" name="Rectangle 626"/>
          <p:cNvSpPr/>
          <p:nvPr/>
        </p:nvSpPr>
        <p:spPr>
          <a:xfrm>
            <a:off x="630555" y="4503901"/>
            <a:ext cx="5535688" cy="60194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Th</a:t>
            </a:r>
            <a:r>
              <a:rPr lang="fr-FR" sz="1802" b="1" i="0" spc="506" baseline="0" dirty="0">
                <a:solidFill>
                  <a:srgbClr val="3660A1"/>
                </a:solidFill>
                <a:latin typeface="Arial"/>
              </a:rPr>
              <a:t>e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examine</a:t>
            </a:r>
            <a:r>
              <a:rPr lang="fr-FR" sz="1802" b="1" i="0" spc="472" baseline="0" dirty="0">
                <a:solidFill>
                  <a:srgbClr val="3660A1"/>
                </a:solidFill>
                <a:latin typeface="Arial"/>
              </a:rPr>
              <a:t>r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migh</a:t>
            </a:r>
            <a:r>
              <a:rPr lang="fr-FR" sz="1802" b="1" i="0" spc="515" baseline="0" dirty="0">
                <a:solidFill>
                  <a:srgbClr val="3660A1"/>
                </a:solidFill>
                <a:latin typeface="Arial"/>
              </a:rPr>
              <a:t>t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loo</a:t>
            </a:r>
            <a:r>
              <a:rPr lang="fr-FR" sz="1802" b="1" i="0" spc="489" baseline="0" dirty="0">
                <a:solidFill>
                  <a:srgbClr val="3660A1"/>
                </a:solidFill>
                <a:latin typeface="Arial"/>
              </a:rPr>
              <a:t>k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young</a:t>
            </a:r>
            <a:r>
              <a:rPr lang="fr-FR" sz="1802" b="1" i="0" spc="477" baseline="0" dirty="0">
                <a:solidFill>
                  <a:srgbClr val="3660A1"/>
                </a:solidFill>
                <a:latin typeface="Arial"/>
              </a:rPr>
              <a:t>,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bu</a:t>
            </a:r>
            <a:r>
              <a:rPr lang="fr-FR" sz="1802" b="1" i="0" spc="512" baseline="0" dirty="0">
                <a:solidFill>
                  <a:srgbClr val="3660A1"/>
                </a:solidFill>
                <a:latin typeface="Arial"/>
              </a:rPr>
              <a:t>t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h</a:t>
            </a:r>
            <a:r>
              <a:rPr lang="fr-FR" sz="1802" b="1" i="0" spc="458" baseline="0" dirty="0">
                <a:solidFill>
                  <a:srgbClr val="3660A1"/>
                </a:solidFill>
                <a:latin typeface="Arial"/>
              </a:rPr>
              <a:t>e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is no</a:t>
            </a:r>
            <a:r>
              <a:rPr lang="fr-FR" sz="1802" b="1" i="0" spc="498" baseline="0" dirty="0">
                <a:solidFill>
                  <a:srgbClr val="3660A1"/>
                </a:solidFill>
                <a:latin typeface="Arial"/>
              </a:rPr>
              <a:t>t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your </a:t>
            </a:r>
          </a:p>
          <a:p>
            <a:pPr marL="0">
              <a:lnSpc>
                <a:spcPts val="2328"/>
              </a:lnSpc>
            </a:pP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buddy</a:t>
            </a:r>
          </a:p>
        </p:txBody>
      </p:sp>
      <p:sp>
        <p:nvSpPr>
          <p:cNvPr id="627" name="Rectangle 627"/>
          <p:cNvSpPr/>
          <p:nvPr/>
        </p:nvSpPr>
        <p:spPr>
          <a:xfrm>
            <a:off x="630555" y="5437384"/>
            <a:ext cx="5194734" cy="60220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Reques</a:t>
            </a:r>
            <a:r>
              <a:rPr lang="fr-FR" sz="1802" b="0" i="0" spc="503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an</a:t>
            </a:r>
            <a:r>
              <a:rPr lang="fr-FR" sz="1802" b="0" i="0" spc="529" baseline="0" dirty="0">
                <a:solidFill>
                  <a:srgbClr val="555555"/>
                </a:solidFill>
                <a:latin typeface="Arial"/>
              </a:rPr>
              <a:t>d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use feedbac</a:t>
            </a:r>
            <a:r>
              <a:rPr lang="fr-FR" sz="1802" b="0" i="0" spc="548" baseline="0" dirty="0">
                <a:solidFill>
                  <a:srgbClr val="555555"/>
                </a:solidFill>
                <a:latin typeface="Arial"/>
              </a:rPr>
              <a:t>k</a:t>
            </a:r>
            <a:r>
              <a:rPr lang="fr-FR" sz="1802" b="0" i="0" spc="504" baseline="0" dirty="0">
                <a:solidFill>
                  <a:srgbClr val="555555"/>
                </a:solidFill>
                <a:latin typeface="Arial"/>
              </a:rPr>
              <a:t>-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i</a:t>
            </a:r>
            <a:r>
              <a:rPr lang="fr-FR" sz="1802" b="0" i="0" spc="518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show</a:t>
            </a:r>
            <a:r>
              <a:rPr lang="fr-FR" sz="1802" b="0" i="0" spc="543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you</a:t>
            </a:r>
            <a:r>
              <a:rPr lang="fr-FR" sz="1802" b="0" i="0" spc="527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maturity</a:t>
            </a:r>
          </a:p>
          <a:p>
            <a:pPr marL="0">
              <a:lnSpc>
                <a:spcPts val="2330"/>
              </a:lnSpc>
            </a:pP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an</a:t>
            </a:r>
            <a:r>
              <a:rPr lang="fr-FR" sz="1802" b="0" i="0" spc="451" baseline="0" dirty="0">
                <a:solidFill>
                  <a:srgbClr val="555555"/>
                </a:solidFill>
                <a:latin typeface="Arial"/>
              </a:rPr>
              <a:t>d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abilit</a:t>
            </a:r>
            <a:r>
              <a:rPr lang="fr-FR" sz="1802" b="0" i="0" spc="494" baseline="0" dirty="0">
                <a:solidFill>
                  <a:srgbClr val="555555"/>
                </a:solidFill>
                <a:latin typeface="Arial"/>
              </a:rPr>
              <a:t>y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0" spc="452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be 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coached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Freeform 190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91" name="Freeform 191"/>
          <p:cNvSpPr/>
          <p:nvPr/>
        </p:nvSpPr>
        <p:spPr>
          <a:xfrm>
            <a:off x="666750" y="1143030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92" name="Freeform 192"/>
          <p:cNvSpPr/>
          <p:nvPr/>
        </p:nvSpPr>
        <p:spPr>
          <a:xfrm>
            <a:off x="671512" y="1147729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noFill/>
          <a:ln w="10666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11" name="Rectangle 211"/>
          <p:cNvSpPr/>
          <p:nvPr/>
        </p:nvSpPr>
        <p:spPr>
          <a:xfrm>
            <a:off x="11489055" y="6397333"/>
            <a:ext cx="68846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1</a:t>
            </a:r>
          </a:p>
        </p:txBody>
      </p:sp>
      <p:sp>
        <p:nvSpPr>
          <p:cNvPr id="212" name="Rectangle 212"/>
          <p:cNvSpPr/>
          <p:nvPr/>
        </p:nvSpPr>
        <p:spPr>
          <a:xfrm>
            <a:off x="630555" y="488768"/>
            <a:ext cx="5809395" cy="61258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4B71B1"/>
                </a:solidFill>
                <a:latin typeface="Arial"/>
              </a:rPr>
              <a:t>Progra</a:t>
            </a:r>
            <a:r>
              <a:rPr lang="fr-FR" sz="3604" b="1" i="0" spc="1006" baseline="0" dirty="0">
                <a:solidFill>
                  <a:srgbClr val="4B71B1"/>
                </a:solidFill>
                <a:latin typeface="Arial"/>
              </a:rPr>
              <a:t>m</a:t>
            </a:r>
            <a:r>
              <a:rPr lang="fr-FR" sz="3604" b="1" i="0" spc="0" baseline="0" dirty="0">
                <a:solidFill>
                  <a:srgbClr val="4B71B1"/>
                </a:solidFill>
                <a:latin typeface="Arial"/>
              </a:rPr>
              <a:t>o</a:t>
            </a:r>
            <a:r>
              <a:rPr lang="fr-FR" sz="3604" b="1" i="0" spc="1017" baseline="0" dirty="0">
                <a:solidFill>
                  <a:srgbClr val="4B71B1"/>
                </a:solidFill>
                <a:latin typeface="Arial"/>
              </a:rPr>
              <a:t>f</a:t>
            </a:r>
            <a:r>
              <a:rPr lang="fr-FR" sz="3604" b="1" i="0" spc="0" baseline="0" dirty="0">
                <a:solidFill>
                  <a:srgbClr val="4B71B1"/>
                </a:solidFill>
                <a:latin typeface="Arial"/>
              </a:rPr>
              <a:t>th</a:t>
            </a:r>
            <a:r>
              <a:rPr lang="fr-FR" sz="3604" b="1" i="0" spc="1012" baseline="0" dirty="0">
                <a:solidFill>
                  <a:srgbClr val="4B71B1"/>
                </a:solidFill>
                <a:latin typeface="Arial"/>
              </a:rPr>
              <a:t>e</a:t>
            </a:r>
            <a:r>
              <a:rPr lang="fr-FR" sz="3604" b="1" i="0" spc="0" baseline="0" dirty="0">
                <a:solidFill>
                  <a:srgbClr val="4B71B1"/>
                </a:solidFill>
                <a:latin typeface="Arial"/>
              </a:rPr>
              <a:t>Boo</a:t>
            </a:r>
            <a:r>
              <a:rPr lang="fr-FR" sz="3604" b="1" i="0" spc="1013" baseline="0" dirty="0">
                <a:solidFill>
                  <a:srgbClr val="4B71B1"/>
                </a:solidFill>
                <a:latin typeface="Arial"/>
              </a:rPr>
              <a:t>t</a:t>
            </a:r>
            <a:r>
              <a:rPr lang="fr-FR" sz="3604" b="1" i="0" spc="0" baseline="0" dirty="0">
                <a:solidFill>
                  <a:srgbClr val="4B71B1"/>
                </a:solidFill>
                <a:latin typeface="Arial"/>
              </a:rPr>
              <a:t>Camp</a:t>
            </a:r>
          </a:p>
        </p:txBody>
      </p:sp>
      <p:sp>
        <p:nvSpPr>
          <p:cNvPr id="214" name="Rectangle 214"/>
          <p:cNvSpPr/>
          <p:nvPr/>
        </p:nvSpPr>
        <p:spPr>
          <a:xfrm>
            <a:off x="3299337" y="2626624"/>
            <a:ext cx="2747547" cy="5812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30479"/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Ful</a:t>
            </a:r>
            <a:r>
              <a:rPr lang="fr-FR" sz="2027" b="1" i="0" spc="505" baseline="0" dirty="0">
                <a:solidFill>
                  <a:srgbClr val="4B71B1"/>
                </a:solidFill>
                <a:latin typeface="Arial"/>
              </a:rPr>
              <a:t>l</a:t>
            </a:r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sessio</a:t>
            </a:r>
            <a:r>
              <a:rPr lang="fr-FR" sz="2027" b="1" i="0" spc="488" baseline="0" dirty="0">
                <a:solidFill>
                  <a:srgbClr val="4B71B1"/>
                </a:solidFill>
                <a:latin typeface="Arial"/>
              </a:rPr>
              <a:t>n</a:t>
            </a:r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vi</a:t>
            </a:r>
            <a:r>
              <a:rPr lang="fr-FR" sz="2027" b="1" i="0" spc="504" baseline="0" dirty="0">
                <a:solidFill>
                  <a:srgbClr val="4B71B1"/>
                </a:solidFill>
                <a:latin typeface="Arial"/>
              </a:rPr>
              <a:t>a</a:t>
            </a:r>
            <a:r>
              <a:rPr lang="fr-FR" sz="2027" b="1" i="0" spc="0" baseline="0" dirty="0">
                <a:solidFill>
                  <a:srgbClr val="4B71B1"/>
                </a:solidFill>
                <a:latin typeface="Arial"/>
              </a:rPr>
              <a:t>Zoom</a:t>
            </a:r>
          </a:p>
          <a:p>
            <a:pPr marL="1501521">
              <a:lnSpc>
                <a:spcPts val="2129"/>
              </a:lnSpc>
            </a:pP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11h - 12h30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B39A734-C039-B3AD-0E6E-1392602E5430}"/>
              </a:ext>
            </a:extLst>
          </p:cNvPr>
          <p:cNvSpPr txBox="1"/>
          <p:nvPr/>
        </p:nvSpPr>
        <p:spPr>
          <a:xfrm>
            <a:off x="5689600" y="3429000"/>
            <a:ext cx="6096000" cy="14914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50951" indent="-342900" algn="l">
              <a:lnSpc>
                <a:spcPts val="2780"/>
              </a:lnSpc>
              <a:buFont typeface="Arial" panose="020B0604020202020204" pitchFamily="34" charset="0"/>
              <a:buChar char="•"/>
            </a:pPr>
            <a:r>
              <a:rPr lang="en-US" sz="1802" b="0" i="0" spc="0" baseline="0" dirty="0">
                <a:solidFill>
                  <a:srgbClr val="555555"/>
                </a:solidFill>
                <a:latin typeface="Arial"/>
              </a:rPr>
              <a:t>Overview of consulting </a:t>
            </a:r>
          </a:p>
          <a:p>
            <a:pPr marL="750951" indent="-342900" algn="l">
              <a:lnSpc>
                <a:spcPts val="2780"/>
              </a:lnSpc>
              <a:buFont typeface="Arial" panose="020B0604020202020204" pitchFamily="34" charset="0"/>
              <a:buChar char="•"/>
            </a:pPr>
            <a:r>
              <a:rPr lang="en-US" sz="1802" b="0" i="0" spc="0" baseline="0" dirty="0">
                <a:solidFill>
                  <a:srgbClr val="555555"/>
                </a:solidFill>
                <a:latin typeface="Arial"/>
              </a:rPr>
              <a:t>The recruiting processes </a:t>
            </a:r>
          </a:p>
          <a:p>
            <a:pPr marL="750951" indent="-342900" algn="l">
              <a:lnSpc>
                <a:spcPts val="2780"/>
              </a:lnSpc>
              <a:buFont typeface="Arial" panose="020B0604020202020204" pitchFamily="34" charset="0"/>
              <a:buChar char="•"/>
            </a:pPr>
            <a:r>
              <a:rPr lang="en-US" sz="1802" b="0" i="0" spc="0" baseline="0" dirty="0">
                <a:solidFill>
                  <a:srgbClr val="555555"/>
                </a:solidFill>
                <a:latin typeface="Arial"/>
              </a:rPr>
              <a:t>The interview–Alumni tips</a:t>
            </a:r>
          </a:p>
          <a:p>
            <a:pPr marL="750951" indent="-342900" algn="l">
              <a:lnSpc>
                <a:spcPts val="2780"/>
              </a:lnSpc>
              <a:buFont typeface="Arial" panose="020B0604020202020204" pitchFamily="34" charset="0"/>
              <a:buChar char="•"/>
            </a:pPr>
            <a:r>
              <a:rPr lang="en-US" sz="1802" b="0" i="0" spc="0" baseline="0" dirty="0">
                <a:solidFill>
                  <a:srgbClr val="555555"/>
                </a:solidFill>
                <a:latin typeface="Arial"/>
              </a:rPr>
              <a:t>Q&amp;A session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" name="Freeform 628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29" name="Freeform 629"/>
          <p:cNvSpPr/>
          <p:nvPr/>
        </p:nvSpPr>
        <p:spPr>
          <a:xfrm>
            <a:off x="666750" y="1143030"/>
            <a:ext cx="971041" cy="66392"/>
          </a:xfrm>
          <a:custGeom>
            <a:avLst/>
            <a:gdLst/>
            <a:ahLst/>
            <a:cxnLst/>
            <a:rect l="0" t="0" r="0" b="0"/>
            <a:pathLst>
              <a:path w="971041" h="66392">
                <a:moveTo>
                  <a:pt x="0" y="66392"/>
                </a:moveTo>
                <a:lnTo>
                  <a:pt x="971041" y="66392"/>
                </a:lnTo>
                <a:lnTo>
                  <a:pt x="971041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30" name="Freeform 630"/>
          <p:cNvSpPr/>
          <p:nvPr/>
        </p:nvSpPr>
        <p:spPr>
          <a:xfrm>
            <a:off x="671512" y="1147729"/>
            <a:ext cx="971042" cy="66392"/>
          </a:xfrm>
          <a:custGeom>
            <a:avLst/>
            <a:gdLst/>
            <a:ahLst/>
            <a:cxnLst/>
            <a:rect l="0" t="0" r="0" b="0"/>
            <a:pathLst>
              <a:path w="971042" h="66392">
                <a:moveTo>
                  <a:pt x="0" y="66392"/>
                </a:moveTo>
                <a:lnTo>
                  <a:pt x="971042" y="66392"/>
                </a:lnTo>
                <a:lnTo>
                  <a:pt x="971042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noFill/>
          <a:ln w="10667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631" name="Picture 631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410450" y="0"/>
            <a:ext cx="4781550" cy="6858000"/>
          </a:xfrm>
          <a:prstGeom prst="rect">
            <a:avLst/>
          </a:prstGeom>
          <a:noFill/>
        </p:spPr>
      </p:pic>
      <p:sp>
        <p:nvSpPr>
          <p:cNvPr id="632" name="Freeform 632"/>
          <p:cNvSpPr/>
          <p:nvPr/>
        </p:nvSpPr>
        <p:spPr>
          <a:xfrm>
            <a:off x="8505825" y="1457325"/>
            <a:ext cx="618743" cy="599822"/>
          </a:xfrm>
          <a:custGeom>
            <a:avLst/>
            <a:gdLst/>
            <a:ahLst/>
            <a:cxnLst/>
            <a:rect l="0" t="0" r="0" b="0"/>
            <a:pathLst>
              <a:path w="618743" h="599822">
                <a:moveTo>
                  <a:pt x="28575" y="0"/>
                </a:moveTo>
                <a:lnTo>
                  <a:pt x="9017" y="9525"/>
                </a:lnTo>
                <a:lnTo>
                  <a:pt x="0" y="28575"/>
                </a:lnTo>
                <a:lnTo>
                  <a:pt x="9270" y="49404"/>
                </a:lnTo>
                <a:lnTo>
                  <a:pt x="45211" y="82170"/>
                </a:lnTo>
                <a:lnTo>
                  <a:pt x="80898" y="115190"/>
                </a:lnTo>
                <a:lnTo>
                  <a:pt x="116585" y="148210"/>
                </a:lnTo>
                <a:lnTo>
                  <a:pt x="152145" y="181484"/>
                </a:lnTo>
                <a:lnTo>
                  <a:pt x="187706" y="214885"/>
                </a:lnTo>
                <a:lnTo>
                  <a:pt x="223011" y="248285"/>
                </a:lnTo>
                <a:lnTo>
                  <a:pt x="258191" y="281941"/>
                </a:lnTo>
                <a:lnTo>
                  <a:pt x="293369" y="315722"/>
                </a:lnTo>
                <a:lnTo>
                  <a:pt x="328294" y="349759"/>
                </a:lnTo>
                <a:lnTo>
                  <a:pt x="363219" y="383795"/>
                </a:lnTo>
                <a:lnTo>
                  <a:pt x="397891" y="417958"/>
                </a:lnTo>
                <a:lnTo>
                  <a:pt x="432434" y="452374"/>
                </a:lnTo>
                <a:lnTo>
                  <a:pt x="466852" y="486918"/>
                </a:lnTo>
                <a:lnTo>
                  <a:pt x="501142" y="521590"/>
                </a:lnTo>
                <a:lnTo>
                  <a:pt x="535305" y="556387"/>
                </a:lnTo>
                <a:lnTo>
                  <a:pt x="569214" y="591312"/>
                </a:lnTo>
                <a:lnTo>
                  <a:pt x="590550" y="599822"/>
                </a:lnTo>
                <a:lnTo>
                  <a:pt x="609600" y="590678"/>
                </a:lnTo>
                <a:lnTo>
                  <a:pt x="618743" y="571373"/>
                </a:lnTo>
                <a:lnTo>
                  <a:pt x="610743" y="549784"/>
                </a:lnTo>
                <a:lnTo>
                  <a:pt x="576706" y="514859"/>
                </a:lnTo>
                <a:lnTo>
                  <a:pt x="542670" y="480060"/>
                </a:lnTo>
                <a:lnTo>
                  <a:pt x="508381" y="445390"/>
                </a:lnTo>
                <a:lnTo>
                  <a:pt x="473964" y="410846"/>
                </a:lnTo>
                <a:lnTo>
                  <a:pt x="439419" y="376555"/>
                </a:lnTo>
                <a:lnTo>
                  <a:pt x="404621" y="342266"/>
                </a:lnTo>
                <a:lnTo>
                  <a:pt x="369823" y="308229"/>
                </a:lnTo>
                <a:lnTo>
                  <a:pt x="334771" y="274321"/>
                </a:lnTo>
                <a:lnTo>
                  <a:pt x="299719" y="240539"/>
                </a:lnTo>
                <a:lnTo>
                  <a:pt x="264541" y="206884"/>
                </a:lnTo>
                <a:lnTo>
                  <a:pt x="229107" y="173355"/>
                </a:lnTo>
                <a:lnTo>
                  <a:pt x="193675" y="139954"/>
                </a:lnTo>
                <a:lnTo>
                  <a:pt x="158115" y="106680"/>
                </a:lnTo>
                <a:lnTo>
                  <a:pt x="122428" y="73660"/>
                </a:lnTo>
                <a:lnTo>
                  <a:pt x="86614" y="40767"/>
                </a:lnTo>
                <a:lnTo>
                  <a:pt x="50800" y="7874"/>
                </a:lnTo>
                <a:lnTo>
                  <a:pt x="28575" y="0"/>
                </a:lnTo>
                <a:close/>
                <a:moveTo>
                  <a:pt x="-3105150" y="5400675"/>
                </a:moveTo>
              </a:path>
            </a:pathLst>
          </a:custGeom>
          <a:solidFill>
            <a:srgbClr val="EBBD1F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33" name="Freeform 633"/>
          <p:cNvSpPr/>
          <p:nvPr/>
        </p:nvSpPr>
        <p:spPr>
          <a:xfrm>
            <a:off x="9782175" y="1466850"/>
            <a:ext cx="104393" cy="342520"/>
          </a:xfrm>
          <a:custGeom>
            <a:avLst/>
            <a:gdLst/>
            <a:ahLst/>
            <a:cxnLst/>
            <a:rect l="0" t="0" r="0" b="0"/>
            <a:pathLst>
              <a:path w="104393" h="342520">
                <a:moveTo>
                  <a:pt x="22606" y="0"/>
                </a:moveTo>
                <a:lnTo>
                  <a:pt x="4698" y="12447"/>
                </a:lnTo>
                <a:lnTo>
                  <a:pt x="0" y="35815"/>
                </a:lnTo>
                <a:lnTo>
                  <a:pt x="7873" y="83440"/>
                </a:lnTo>
                <a:lnTo>
                  <a:pt x="16002" y="131191"/>
                </a:lnTo>
                <a:lnTo>
                  <a:pt x="24130" y="179071"/>
                </a:lnTo>
                <a:lnTo>
                  <a:pt x="40767" y="274702"/>
                </a:lnTo>
                <a:lnTo>
                  <a:pt x="49148" y="322327"/>
                </a:lnTo>
                <a:lnTo>
                  <a:pt x="81280" y="342520"/>
                </a:lnTo>
                <a:lnTo>
                  <a:pt x="99186" y="330073"/>
                </a:lnTo>
                <a:lnTo>
                  <a:pt x="104393" y="306197"/>
                </a:lnTo>
                <a:lnTo>
                  <a:pt x="96011" y="258699"/>
                </a:lnTo>
                <a:lnTo>
                  <a:pt x="63500" y="67818"/>
                </a:lnTo>
                <a:lnTo>
                  <a:pt x="55244" y="19812"/>
                </a:lnTo>
                <a:lnTo>
                  <a:pt x="43053" y="1397"/>
                </a:lnTo>
                <a:lnTo>
                  <a:pt x="22606" y="0"/>
                </a:lnTo>
                <a:close/>
                <a:moveTo>
                  <a:pt x="-4391025" y="5391150"/>
                </a:moveTo>
              </a:path>
            </a:pathLst>
          </a:custGeom>
          <a:solidFill>
            <a:srgbClr val="EBBD1F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34" name="Freeform 634"/>
          <p:cNvSpPr/>
          <p:nvPr/>
        </p:nvSpPr>
        <p:spPr>
          <a:xfrm>
            <a:off x="10620375" y="1724025"/>
            <a:ext cx="323342" cy="256667"/>
          </a:xfrm>
          <a:custGeom>
            <a:avLst/>
            <a:gdLst/>
            <a:ahLst/>
            <a:cxnLst/>
            <a:rect l="0" t="0" r="0" b="0"/>
            <a:pathLst>
              <a:path w="323342" h="256667">
                <a:moveTo>
                  <a:pt x="302894" y="0"/>
                </a:moveTo>
                <a:lnTo>
                  <a:pt x="237235" y="26671"/>
                </a:lnTo>
                <a:lnTo>
                  <a:pt x="196215" y="52705"/>
                </a:lnTo>
                <a:lnTo>
                  <a:pt x="156336" y="80518"/>
                </a:lnTo>
                <a:lnTo>
                  <a:pt x="117475" y="109983"/>
                </a:lnTo>
                <a:lnTo>
                  <a:pt x="79756" y="141097"/>
                </a:lnTo>
                <a:lnTo>
                  <a:pt x="43306" y="173736"/>
                </a:lnTo>
                <a:lnTo>
                  <a:pt x="7873" y="207899"/>
                </a:lnTo>
                <a:lnTo>
                  <a:pt x="0" y="228728"/>
                </a:lnTo>
                <a:lnTo>
                  <a:pt x="9397" y="247650"/>
                </a:lnTo>
                <a:lnTo>
                  <a:pt x="28320" y="256667"/>
                </a:lnTo>
                <a:lnTo>
                  <a:pt x="49021" y="248031"/>
                </a:lnTo>
                <a:lnTo>
                  <a:pt x="82931" y="215900"/>
                </a:lnTo>
                <a:lnTo>
                  <a:pt x="117856" y="185040"/>
                </a:lnTo>
                <a:lnTo>
                  <a:pt x="154051" y="155703"/>
                </a:lnTo>
                <a:lnTo>
                  <a:pt x="191261" y="127890"/>
                </a:lnTo>
                <a:lnTo>
                  <a:pt x="229616" y="101473"/>
                </a:lnTo>
                <a:lnTo>
                  <a:pt x="268985" y="76581"/>
                </a:lnTo>
                <a:lnTo>
                  <a:pt x="309498" y="53341"/>
                </a:lnTo>
                <a:lnTo>
                  <a:pt x="323342" y="35179"/>
                </a:lnTo>
                <a:lnTo>
                  <a:pt x="319405" y="14097"/>
                </a:lnTo>
                <a:lnTo>
                  <a:pt x="302894" y="0"/>
                </a:lnTo>
                <a:close/>
                <a:moveTo>
                  <a:pt x="-5486400" y="5133975"/>
                </a:moveTo>
              </a:path>
            </a:pathLst>
          </a:custGeom>
          <a:solidFill>
            <a:srgbClr val="EBBD1F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35" name="Rectangle 635"/>
          <p:cNvSpPr/>
          <p:nvPr/>
        </p:nvSpPr>
        <p:spPr>
          <a:xfrm>
            <a:off x="11418951" y="6397333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20</a:t>
            </a:r>
          </a:p>
        </p:txBody>
      </p:sp>
      <p:sp>
        <p:nvSpPr>
          <p:cNvPr id="636" name="Rectangle 636"/>
          <p:cNvSpPr/>
          <p:nvPr/>
        </p:nvSpPr>
        <p:spPr>
          <a:xfrm>
            <a:off x="630555" y="488768"/>
            <a:ext cx="2630383" cy="61258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Mai</a:t>
            </a:r>
            <a:r>
              <a:rPr lang="fr-FR" sz="3604" b="1" i="0" spc="916" baseline="0" dirty="0">
                <a:solidFill>
                  <a:srgbClr val="466CAD"/>
                </a:solidFill>
                <a:latin typeface="Arial"/>
              </a:rPr>
              <a:t>n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pitfalls</a:t>
            </a:r>
          </a:p>
        </p:txBody>
      </p:sp>
      <p:sp>
        <p:nvSpPr>
          <p:cNvPr id="637" name="Rectangle 637"/>
          <p:cNvSpPr/>
          <p:nvPr/>
        </p:nvSpPr>
        <p:spPr>
          <a:xfrm>
            <a:off x="630555" y="2053816"/>
            <a:ext cx="5599430" cy="60194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D</a:t>
            </a:r>
            <a:r>
              <a:rPr lang="fr-FR" sz="1802" b="1" i="0" spc="521" baseline="0" dirty="0">
                <a:solidFill>
                  <a:srgbClr val="3660A1"/>
                </a:solidFill>
                <a:latin typeface="Arial"/>
              </a:rPr>
              <a:t>o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not tr</a:t>
            </a:r>
            <a:r>
              <a:rPr lang="fr-FR" sz="1802" b="1" i="0" spc="501" baseline="0" dirty="0">
                <a:solidFill>
                  <a:srgbClr val="3660A1"/>
                </a:solidFill>
                <a:latin typeface="Arial"/>
              </a:rPr>
              <a:t>y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to gues</a:t>
            </a:r>
            <a:r>
              <a:rPr lang="fr-FR" sz="1802" b="1" i="0" spc="517" baseline="0" dirty="0">
                <a:solidFill>
                  <a:srgbClr val="3660A1"/>
                </a:solidFill>
                <a:latin typeface="Arial"/>
              </a:rPr>
              <a:t>s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the answe</a:t>
            </a:r>
            <a:r>
              <a:rPr lang="fr-FR" sz="1802" b="1" i="0" spc="462" baseline="0" dirty="0">
                <a:solidFill>
                  <a:srgbClr val="3660A1"/>
                </a:solidFill>
                <a:latin typeface="Arial"/>
              </a:rPr>
              <a:t>r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o</a:t>
            </a:r>
            <a:r>
              <a:rPr lang="fr-FR" sz="1802" b="1" i="0" spc="481" baseline="0" dirty="0">
                <a:solidFill>
                  <a:srgbClr val="3660A1"/>
                </a:solidFill>
                <a:latin typeface="Arial"/>
              </a:rPr>
              <a:t>f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th</a:t>
            </a:r>
            <a:r>
              <a:rPr lang="fr-FR" sz="1802" b="1" i="0" spc="467" baseline="0" dirty="0">
                <a:solidFill>
                  <a:srgbClr val="3660A1"/>
                </a:solidFill>
                <a:latin typeface="Arial"/>
              </a:rPr>
              <a:t>e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case</a:t>
            </a:r>
            <a:r>
              <a:rPr lang="fr-FR" sz="1802" b="1" i="0" spc="523" baseline="0" dirty="0">
                <a:solidFill>
                  <a:srgbClr val="3660A1"/>
                </a:solidFill>
                <a:latin typeface="Arial"/>
              </a:rPr>
              <a:t>: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w</a:t>
            </a:r>
            <a:r>
              <a:rPr lang="fr-FR" sz="1802" b="0" i="0" spc="517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care </a:t>
            </a:r>
          </a:p>
          <a:p>
            <a:pPr marL="0">
              <a:lnSpc>
                <a:spcPts val="2328"/>
              </a:lnSpc>
            </a:pP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abou</a:t>
            </a:r>
            <a:r>
              <a:rPr lang="fr-FR" sz="1802" b="0" i="0" spc="511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HO</a:t>
            </a:r>
            <a:r>
              <a:rPr lang="fr-FR" sz="1802" b="1" i="0" spc="494" baseline="0" dirty="0">
                <a:solidFill>
                  <a:srgbClr val="3660A1"/>
                </a:solidFill>
                <a:latin typeface="Arial"/>
              </a:rPr>
              <a:t>W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yo</a:t>
            </a:r>
            <a:r>
              <a:rPr lang="fr-FR" sz="1802" b="1" i="0" spc="473" baseline="0" dirty="0">
                <a:solidFill>
                  <a:srgbClr val="3660A1"/>
                </a:solidFill>
                <a:latin typeface="Arial"/>
              </a:rPr>
              <a:t>u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reac</a:t>
            </a:r>
            <a:r>
              <a:rPr lang="fr-FR" sz="1802" b="1" i="0" spc="520" baseline="0" dirty="0">
                <a:solidFill>
                  <a:srgbClr val="3660A1"/>
                </a:solidFill>
                <a:latin typeface="Arial"/>
              </a:rPr>
              <a:t>h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a</a:t>
            </a:r>
            <a:r>
              <a:rPr lang="fr-FR" sz="1802" b="0" i="0" spc="497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answe</a:t>
            </a:r>
            <a:r>
              <a:rPr lang="fr-FR" sz="1802" b="0" i="0" spc="500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an</a:t>
            </a:r>
            <a:r>
              <a:rPr lang="fr-FR" sz="1802" b="0" i="0" spc="463" baseline="0" dirty="0">
                <a:solidFill>
                  <a:srgbClr val="555555"/>
                </a:solidFill>
                <a:latin typeface="Arial"/>
              </a:rPr>
              <a:t>d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no</a:t>
            </a:r>
            <a:r>
              <a:rPr lang="fr-FR" sz="1802" b="0" i="0" spc="458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th</a:t>
            </a:r>
            <a:r>
              <a:rPr lang="fr-FR" sz="1802" b="0" i="0" spc="482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righ</a:t>
            </a:r>
            <a:r>
              <a:rPr lang="fr-FR" sz="1802" b="0" i="0" spc="472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one</a:t>
            </a:r>
          </a:p>
        </p:txBody>
      </p:sp>
      <p:sp>
        <p:nvSpPr>
          <p:cNvPr id="638" name="Rectangle 638"/>
          <p:cNvSpPr/>
          <p:nvPr/>
        </p:nvSpPr>
        <p:spPr>
          <a:xfrm>
            <a:off x="630555" y="2998061"/>
            <a:ext cx="4599551" cy="60194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D</a:t>
            </a:r>
            <a:r>
              <a:rPr lang="fr-FR" sz="1802" b="0" i="0" spc="505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no</a:t>
            </a:r>
            <a:r>
              <a:rPr lang="fr-FR" sz="1802" b="0" i="0" spc="467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jum</a:t>
            </a:r>
            <a:r>
              <a:rPr lang="fr-FR" sz="1802" b="0" i="0" spc="535" baseline="0" dirty="0">
                <a:solidFill>
                  <a:srgbClr val="555555"/>
                </a:solidFill>
                <a:latin typeface="Arial"/>
              </a:rPr>
              <a:t>p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in th</a:t>
            </a:r>
            <a:r>
              <a:rPr lang="fr-FR" sz="1802" b="0" i="0" spc="489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cas</a:t>
            </a:r>
            <a:r>
              <a:rPr lang="fr-FR" sz="1802" b="0" i="0" spc="506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analysi</a:t>
            </a:r>
            <a:r>
              <a:rPr lang="fr-FR" sz="1802" b="0" i="0" spc="503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prio</a:t>
            </a:r>
            <a:r>
              <a:rPr lang="fr-FR" sz="1802" b="0" i="0" spc="488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0" spc="464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have</a:t>
            </a:r>
          </a:p>
          <a:p>
            <a:pPr marL="0">
              <a:lnSpc>
                <a:spcPts val="2328"/>
              </a:lnSpc>
            </a:pP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structure</a:t>
            </a:r>
            <a:r>
              <a:rPr lang="fr-FR" sz="1802" b="1" i="0" spc="521" baseline="0" dirty="0">
                <a:solidFill>
                  <a:srgbClr val="3660A1"/>
                </a:solidFill>
                <a:latin typeface="Arial"/>
              </a:rPr>
              <a:t>d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th</a:t>
            </a:r>
            <a:r>
              <a:rPr lang="fr-FR" sz="1802" b="1" i="0" spc="461" baseline="0" dirty="0">
                <a:solidFill>
                  <a:srgbClr val="3660A1"/>
                </a:solidFill>
                <a:latin typeface="Arial"/>
              </a:rPr>
              <a:t>e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issue</a:t>
            </a:r>
          </a:p>
        </p:txBody>
      </p:sp>
      <p:sp>
        <p:nvSpPr>
          <p:cNvPr id="639" name="Rectangle 639"/>
          <p:cNvSpPr/>
          <p:nvPr/>
        </p:nvSpPr>
        <p:spPr>
          <a:xfrm>
            <a:off x="630555" y="3913732"/>
            <a:ext cx="4447815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D</a:t>
            </a:r>
            <a:r>
              <a:rPr lang="fr-FR" sz="1802" b="1" i="0" spc="496" baseline="0" dirty="0">
                <a:solidFill>
                  <a:srgbClr val="3660A1"/>
                </a:solidFill>
                <a:latin typeface="Arial"/>
              </a:rPr>
              <a:t>o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no</a:t>
            </a:r>
            <a:r>
              <a:rPr lang="fr-FR" sz="1802" b="1" i="0" spc="513" baseline="0" dirty="0">
                <a:solidFill>
                  <a:srgbClr val="3660A1"/>
                </a:solidFill>
                <a:latin typeface="Arial"/>
              </a:rPr>
              <a:t>t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pani</a:t>
            </a:r>
            <a:r>
              <a:rPr lang="fr-FR" sz="1802" b="1" i="0" spc="509" baseline="0" dirty="0">
                <a:solidFill>
                  <a:srgbClr val="3660A1"/>
                </a:solidFill>
                <a:latin typeface="Arial"/>
              </a:rPr>
              <a:t>c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wit</a:t>
            </a:r>
            <a:r>
              <a:rPr lang="fr-FR" sz="1802" b="1" i="0" spc="426" baseline="0" dirty="0">
                <a:solidFill>
                  <a:srgbClr val="3660A1"/>
                </a:solidFill>
                <a:latin typeface="Arial"/>
              </a:rPr>
              <a:t>h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th</a:t>
            </a:r>
            <a:r>
              <a:rPr lang="fr-FR" sz="1802" b="1" i="0" spc="456" baseline="0" dirty="0">
                <a:solidFill>
                  <a:srgbClr val="3660A1"/>
                </a:solidFill>
                <a:latin typeface="Arial"/>
              </a:rPr>
              <a:t>e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numbers…breathe!</a:t>
            </a:r>
          </a:p>
        </p:txBody>
      </p:sp>
      <p:sp>
        <p:nvSpPr>
          <p:cNvPr id="640" name="Rectangle 640"/>
          <p:cNvSpPr/>
          <p:nvPr/>
        </p:nvSpPr>
        <p:spPr>
          <a:xfrm>
            <a:off x="630555" y="4505171"/>
            <a:ext cx="4605702" cy="61147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D</a:t>
            </a:r>
            <a:r>
              <a:rPr lang="fr-FR" sz="1802" b="0" i="0" spc="500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no</a:t>
            </a:r>
            <a:r>
              <a:rPr lang="fr-FR" sz="1802" b="0" i="0" spc="467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forge</a:t>
            </a:r>
            <a:r>
              <a:rPr lang="fr-FR" sz="1802" b="0" i="0" spc="523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to 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tak</a:t>
            </a:r>
            <a:r>
              <a:rPr lang="fr-FR" sz="1802" b="1" i="0" spc="534" baseline="0" dirty="0">
                <a:solidFill>
                  <a:srgbClr val="3660A1"/>
                </a:solidFill>
                <a:latin typeface="Arial"/>
              </a:rPr>
              <a:t>e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som</a:t>
            </a:r>
            <a:r>
              <a:rPr lang="fr-FR" sz="1802" b="1" i="0" spc="498" baseline="0" dirty="0">
                <a:solidFill>
                  <a:srgbClr val="3660A1"/>
                </a:solidFill>
                <a:latin typeface="Arial"/>
              </a:rPr>
              <a:t>e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notes: 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i</a:t>
            </a:r>
            <a:r>
              <a:rPr lang="fr-FR" sz="1802" b="0" i="0" spc="513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wil</a:t>
            </a:r>
            <a:r>
              <a:rPr lang="fr-FR" sz="1802" b="0" i="0" spc="563" baseline="0" dirty="0">
                <a:solidFill>
                  <a:srgbClr val="555555"/>
                </a:solidFill>
                <a:latin typeface="Arial"/>
              </a:rPr>
              <a:t>l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help </a:t>
            </a:r>
          </a:p>
          <a:p>
            <a:pPr marL="0">
              <a:lnSpc>
                <a:spcPts val="2403"/>
              </a:lnSpc>
            </a:pP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yo</a:t>
            </a:r>
            <a:r>
              <a:rPr lang="fr-FR" sz="1802" b="0" i="0" spc="505" baseline="0" dirty="0">
                <a:solidFill>
                  <a:srgbClr val="555555"/>
                </a:solidFill>
                <a:latin typeface="Arial"/>
              </a:rPr>
              <a:t>u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structure</a:t>
            </a:r>
          </a:p>
        </p:txBody>
      </p:sp>
      <p:sp>
        <p:nvSpPr>
          <p:cNvPr id="641" name="Rectangle 641"/>
          <p:cNvSpPr/>
          <p:nvPr/>
        </p:nvSpPr>
        <p:spPr>
          <a:xfrm>
            <a:off x="630555" y="5420904"/>
            <a:ext cx="5028356" cy="61140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Do not forget to ask questions 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and listen to the </a:t>
            </a:r>
          </a:p>
          <a:p>
            <a:pPr marL="0">
              <a:lnSpc>
                <a:spcPts val="2402"/>
              </a:lnSpc>
            </a:pP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interviewer</a:t>
            </a:r>
            <a:r>
              <a:rPr lang="fr-FR" sz="1802" b="0" i="0" spc="510" baseline="0" dirty="0">
                <a:solidFill>
                  <a:srgbClr val="555555"/>
                </a:solidFill>
                <a:latin typeface="Arial"/>
              </a:rPr>
              <a:t>: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h</a:t>
            </a:r>
            <a:r>
              <a:rPr lang="fr-FR" sz="1802" b="0" i="0" spc="519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i</a:t>
            </a:r>
            <a:r>
              <a:rPr lang="fr-FR" sz="1802" b="0" i="0" spc="513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(usually</a:t>
            </a:r>
            <a:r>
              <a:rPr lang="fr-FR" sz="1802" b="0" i="0" spc="504" baseline="0" dirty="0">
                <a:solidFill>
                  <a:srgbClr val="555555"/>
                </a:solidFill>
                <a:latin typeface="Arial"/>
              </a:rPr>
              <a:t>)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her</a:t>
            </a:r>
            <a:r>
              <a:rPr lang="fr-FR" sz="1802" b="0" i="0" spc="531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0" spc="462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help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2" name="Freeform 64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643" name="Picture 268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3790950" cy="6858000"/>
          </a:xfrm>
          <a:prstGeom prst="rect">
            <a:avLst/>
          </a:prstGeom>
          <a:noFill/>
        </p:spPr>
      </p:pic>
      <p:sp>
        <p:nvSpPr>
          <p:cNvPr id="644" name="Freeform 644"/>
          <p:cNvSpPr/>
          <p:nvPr/>
        </p:nvSpPr>
        <p:spPr>
          <a:xfrm>
            <a:off x="666750" y="1076314"/>
            <a:ext cx="1295400" cy="56908"/>
          </a:xfrm>
          <a:custGeom>
            <a:avLst/>
            <a:gdLst/>
            <a:ahLst/>
            <a:cxnLst/>
            <a:rect l="0" t="0" r="0" b="0"/>
            <a:pathLst>
              <a:path w="1295400" h="56908">
                <a:moveTo>
                  <a:pt x="0" y="56908"/>
                </a:moveTo>
                <a:lnTo>
                  <a:pt x="1295400" y="56908"/>
                </a:lnTo>
                <a:lnTo>
                  <a:pt x="1295400" y="0"/>
                </a:lnTo>
                <a:lnTo>
                  <a:pt x="0" y="0"/>
                </a:lnTo>
                <a:lnTo>
                  <a:pt x="0" y="56908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45" name="Freeform 645"/>
          <p:cNvSpPr/>
          <p:nvPr/>
        </p:nvSpPr>
        <p:spPr>
          <a:xfrm>
            <a:off x="671512" y="1081140"/>
            <a:ext cx="1295400" cy="56907"/>
          </a:xfrm>
          <a:custGeom>
            <a:avLst/>
            <a:gdLst/>
            <a:ahLst/>
            <a:cxnLst/>
            <a:rect l="0" t="0" r="0" b="0"/>
            <a:pathLst>
              <a:path w="1295400" h="56907">
                <a:moveTo>
                  <a:pt x="0" y="56907"/>
                </a:moveTo>
                <a:lnTo>
                  <a:pt x="1295400" y="56907"/>
                </a:lnTo>
                <a:lnTo>
                  <a:pt x="1295400" y="0"/>
                </a:lnTo>
                <a:lnTo>
                  <a:pt x="0" y="0"/>
                </a:lnTo>
                <a:lnTo>
                  <a:pt x="0" y="56907"/>
                </a:lnTo>
                <a:close/>
              </a:path>
            </a:pathLst>
          </a:custGeom>
          <a:noFill/>
          <a:ln w="10666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46" name="Rectangle 646"/>
          <p:cNvSpPr/>
          <p:nvPr/>
        </p:nvSpPr>
        <p:spPr>
          <a:xfrm>
            <a:off x="11418951" y="6397333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21</a:t>
            </a:r>
          </a:p>
        </p:txBody>
      </p:sp>
      <p:sp>
        <p:nvSpPr>
          <p:cNvPr id="647" name="Rectangle 647"/>
          <p:cNvSpPr/>
          <p:nvPr/>
        </p:nvSpPr>
        <p:spPr>
          <a:xfrm>
            <a:off x="630555" y="488768"/>
            <a:ext cx="1979220" cy="61258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Contents</a:t>
            </a:r>
          </a:p>
        </p:txBody>
      </p:sp>
      <p:sp>
        <p:nvSpPr>
          <p:cNvPr id="648" name="Rectangle 648"/>
          <p:cNvSpPr/>
          <p:nvPr/>
        </p:nvSpPr>
        <p:spPr>
          <a:xfrm>
            <a:off x="4632578" y="2012567"/>
            <a:ext cx="5510645" cy="47196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Overvie</a:t>
            </a:r>
            <a:r>
              <a:rPr lang="fr-FR" sz="2777" b="0" i="0" spc="794" baseline="0" dirty="0">
                <a:solidFill>
                  <a:srgbClr val="A7A8A7"/>
                </a:solidFill>
                <a:latin typeface="Arial"/>
              </a:rPr>
              <a:t>w</a:t>
            </a:r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o</a:t>
            </a:r>
            <a:r>
              <a:rPr lang="fr-FR" sz="2777" b="0" i="0" spc="742" baseline="0" dirty="0">
                <a:solidFill>
                  <a:srgbClr val="A7A8A7"/>
                </a:solidFill>
                <a:latin typeface="Arial"/>
              </a:rPr>
              <a:t>f</a:t>
            </a:r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th</a:t>
            </a:r>
            <a:r>
              <a:rPr lang="fr-FR" sz="2777" b="0" i="0" spc="786" baseline="0" dirty="0">
                <a:solidFill>
                  <a:srgbClr val="A7A8A7"/>
                </a:solidFill>
                <a:latin typeface="Arial"/>
              </a:rPr>
              <a:t>e</a:t>
            </a:r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consultin</a:t>
            </a:r>
            <a:r>
              <a:rPr lang="fr-FR" sz="2777" b="0" i="0" spc="762" baseline="0" dirty="0">
                <a:solidFill>
                  <a:srgbClr val="A7A8A7"/>
                </a:solidFill>
                <a:latin typeface="Arial"/>
              </a:rPr>
              <a:t>g</a:t>
            </a:r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industry</a:t>
            </a:r>
          </a:p>
        </p:txBody>
      </p:sp>
      <p:sp>
        <p:nvSpPr>
          <p:cNvPr id="649" name="Rectangle 649"/>
          <p:cNvSpPr/>
          <p:nvPr/>
        </p:nvSpPr>
        <p:spPr>
          <a:xfrm>
            <a:off x="4632578" y="3023487"/>
            <a:ext cx="3256254" cy="47196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Recruitmen</a:t>
            </a:r>
            <a:r>
              <a:rPr lang="fr-FR" sz="2777" b="0" i="0" spc="783" baseline="0" dirty="0">
                <a:solidFill>
                  <a:srgbClr val="A7A8A7"/>
                </a:solidFill>
                <a:latin typeface="Arial"/>
              </a:rPr>
              <a:t>t</a:t>
            </a:r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process</a:t>
            </a:r>
          </a:p>
        </p:txBody>
      </p:sp>
      <p:sp>
        <p:nvSpPr>
          <p:cNvPr id="650" name="Rectangle 650"/>
          <p:cNvSpPr/>
          <p:nvPr/>
        </p:nvSpPr>
        <p:spPr>
          <a:xfrm>
            <a:off x="4632578" y="4034049"/>
            <a:ext cx="5269844" cy="47239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779" b="1" i="0" spc="0" baseline="0" dirty="0">
                <a:solidFill>
                  <a:srgbClr val="3660A1"/>
                </a:solidFill>
                <a:latin typeface="Arial"/>
              </a:rPr>
              <a:t>Getting prepare</a:t>
            </a:r>
            <a:r>
              <a:rPr lang="fr-FR" sz="2779" b="1" i="0" spc="845" baseline="0" dirty="0">
                <a:solidFill>
                  <a:srgbClr val="3660A1"/>
                </a:solidFill>
                <a:latin typeface="Arial"/>
              </a:rPr>
              <a:t>d</a:t>
            </a:r>
            <a:r>
              <a:rPr lang="fr-FR" sz="2779" b="1" i="0" spc="0" baseline="0" dirty="0">
                <a:solidFill>
                  <a:srgbClr val="3660A1"/>
                </a:solidFill>
                <a:latin typeface="Arial"/>
              </a:rPr>
              <a:t>fo</a:t>
            </a:r>
            <a:r>
              <a:rPr lang="fr-FR" sz="2779" b="1" i="0" spc="778" baseline="0" dirty="0">
                <a:solidFill>
                  <a:srgbClr val="3660A1"/>
                </a:solidFill>
                <a:latin typeface="Arial"/>
              </a:rPr>
              <a:t>r</a:t>
            </a:r>
            <a:r>
              <a:rPr lang="fr-FR" sz="2779" b="1" i="0" spc="0" baseline="0" dirty="0">
                <a:solidFill>
                  <a:srgbClr val="3660A1"/>
                </a:solidFill>
                <a:latin typeface="Arial"/>
              </a:rPr>
              <a:t>interviews</a:t>
            </a:r>
          </a:p>
        </p:txBody>
      </p:sp>
      <p:sp>
        <p:nvSpPr>
          <p:cNvPr id="651" name="Rectangle 651"/>
          <p:cNvSpPr/>
          <p:nvPr/>
        </p:nvSpPr>
        <p:spPr>
          <a:xfrm>
            <a:off x="4632578" y="5045708"/>
            <a:ext cx="749225" cy="47196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Q&amp;A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2" name="Freeform 65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653" name="Picture 653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pic>
        <p:nvPicPr>
          <p:cNvPr id="654" name="Picture 654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077200" y="2228850"/>
            <a:ext cx="1628775" cy="1400175"/>
          </a:xfrm>
          <a:prstGeom prst="rect">
            <a:avLst/>
          </a:prstGeom>
          <a:noFill/>
        </p:spPr>
      </p:pic>
      <p:sp>
        <p:nvSpPr>
          <p:cNvPr id="655" name="Freeform 655"/>
          <p:cNvSpPr/>
          <p:nvPr/>
        </p:nvSpPr>
        <p:spPr>
          <a:xfrm>
            <a:off x="7000875" y="2237867"/>
            <a:ext cx="761110" cy="100204"/>
          </a:xfrm>
          <a:custGeom>
            <a:avLst/>
            <a:gdLst/>
            <a:ahLst/>
            <a:cxnLst/>
            <a:rect l="0" t="0" r="0" b="0"/>
            <a:pathLst>
              <a:path w="761110" h="100204">
                <a:moveTo>
                  <a:pt x="761110" y="56516"/>
                </a:moveTo>
                <a:lnTo>
                  <a:pt x="740409" y="22861"/>
                </a:lnTo>
                <a:lnTo>
                  <a:pt x="688847" y="15875"/>
                </a:lnTo>
                <a:lnTo>
                  <a:pt x="637413" y="10161"/>
                </a:lnTo>
                <a:lnTo>
                  <a:pt x="585851" y="5716"/>
                </a:lnTo>
                <a:lnTo>
                  <a:pt x="534289" y="2541"/>
                </a:lnTo>
                <a:lnTo>
                  <a:pt x="482727" y="762"/>
                </a:lnTo>
                <a:lnTo>
                  <a:pt x="431038" y="0"/>
                </a:lnTo>
                <a:lnTo>
                  <a:pt x="379476" y="636"/>
                </a:lnTo>
                <a:lnTo>
                  <a:pt x="327914" y="2541"/>
                </a:lnTo>
                <a:lnTo>
                  <a:pt x="276479" y="5716"/>
                </a:lnTo>
                <a:lnTo>
                  <a:pt x="225043" y="10161"/>
                </a:lnTo>
                <a:lnTo>
                  <a:pt x="173735" y="15875"/>
                </a:lnTo>
                <a:lnTo>
                  <a:pt x="122555" y="22987"/>
                </a:lnTo>
                <a:lnTo>
                  <a:pt x="71501" y="31243"/>
                </a:lnTo>
                <a:lnTo>
                  <a:pt x="20573" y="40768"/>
                </a:lnTo>
                <a:lnTo>
                  <a:pt x="0" y="76328"/>
                </a:lnTo>
                <a:lnTo>
                  <a:pt x="12827" y="95250"/>
                </a:lnTo>
                <a:lnTo>
                  <a:pt x="36830" y="100204"/>
                </a:lnTo>
                <a:lnTo>
                  <a:pt x="85343" y="91187"/>
                </a:lnTo>
                <a:lnTo>
                  <a:pt x="133984" y="83312"/>
                </a:lnTo>
                <a:lnTo>
                  <a:pt x="182880" y="76581"/>
                </a:lnTo>
                <a:lnTo>
                  <a:pt x="231902" y="70993"/>
                </a:lnTo>
                <a:lnTo>
                  <a:pt x="281051" y="66675"/>
                </a:lnTo>
                <a:lnTo>
                  <a:pt x="330200" y="63500"/>
                </a:lnTo>
                <a:lnTo>
                  <a:pt x="379476" y="61595"/>
                </a:lnTo>
                <a:lnTo>
                  <a:pt x="428879" y="60833"/>
                </a:lnTo>
                <a:lnTo>
                  <a:pt x="478155" y="61342"/>
                </a:lnTo>
                <a:lnTo>
                  <a:pt x="527431" y="62993"/>
                </a:lnTo>
                <a:lnTo>
                  <a:pt x="576706" y="65913"/>
                </a:lnTo>
                <a:lnTo>
                  <a:pt x="625982" y="69978"/>
                </a:lnTo>
                <a:lnTo>
                  <a:pt x="675005" y="75312"/>
                </a:lnTo>
                <a:lnTo>
                  <a:pt x="724027" y="81788"/>
                </a:lnTo>
                <a:lnTo>
                  <a:pt x="748156" y="75693"/>
                </a:lnTo>
                <a:lnTo>
                  <a:pt x="761110" y="56516"/>
                </a:lnTo>
                <a:close/>
                <a:moveTo>
                  <a:pt x="-2437258" y="4620133"/>
                </a:moveTo>
              </a:path>
            </a:pathLst>
          </a:custGeom>
          <a:solidFill>
            <a:srgbClr val="EBBD1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56" name="Freeform 656"/>
          <p:cNvSpPr/>
          <p:nvPr/>
        </p:nvSpPr>
        <p:spPr>
          <a:xfrm>
            <a:off x="7972679" y="1371600"/>
            <a:ext cx="275463" cy="460248"/>
          </a:xfrm>
          <a:custGeom>
            <a:avLst/>
            <a:gdLst/>
            <a:ahLst/>
            <a:cxnLst/>
            <a:rect l="0" t="0" r="0" b="0"/>
            <a:pathLst>
              <a:path w="275463" h="460248">
                <a:moveTo>
                  <a:pt x="275463" y="423799"/>
                </a:moveTo>
                <a:lnTo>
                  <a:pt x="259461" y="377445"/>
                </a:lnTo>
                <a:lnTo>
                  <a:pt x="240791" y="331979"/>
                </a:lnTo>
                <a:lnTo>
                  <a:pt x="220217" y="287402"/>
                </a:lnTo>
                <a:lnTo>
                  <a:pt x="198627" y="243333"/>
                </a:lnTo>
                <a:lnTo>
                  <a:pt x="177038" y="199391"/>
                </a:lnTo>
                <a:lnTo>
                  <a:pt x="156210" y="157861"/>
                </a:lnTo>
                <a:lnTo>
                  <a:pt x="134112" y="117348"/>
                </a:lnTo>
                <a:lnTo>
                  <a:pt x="109854" y="78233"/>
                </a:lnTo>
                <a:lnTo>
                  <a:pt x="82677" y="41022"/>
                </a:lnTo>
                <a:lnTo>
                  <a:pt x="51942" y="6097"/>
                </a:lnTo>
                <a:lnTo>
                  <a:pt x="36322" y="0"/>
                </a:lnTo>
                <a:lnTo>
                  <a:pt x="24002" y="0"/>
                </a:lnTo>
                <a:lnTo>
                  <a:pt x="9652" y="6985"/>
                </a:lnTo>
                <a:lnTo>
                  <a:pt x="0" y="27179"/>
                </a:lnTo>
                <a:lnTo>
                  <a:pt x="9016" y="49785"/>
                </a:lnTo>
                <a:lnTo>
                  <a:pt x="43941" y="90679"/>
                </a:lnTo>
                <a:lnTo>
                  <a:pt x="73787" y="135129"/>
                </a:lnTo>
                <a:lnTo>
                  <a:pt x="100202" y="181991"/>
                </a:lnTo>
                <a:lnTo>
                  <a:pt x="124460" y="230124"/>
                </a:lnTo>
                <a:lnTo>
                  <a:pt x="144526" y="271272"/>
                </a:lnTo>
                <a:lnTo>
                  <a:pt x="164718" y="312674"/>
                </a:lnTo>
                <a:lnTo>
                  <a:pt x="183896" y="354330"/>
                </a:lnTo>
                <a:lnTo>
                  <a:pt x="201549" y="396748"/>
                </a:lnTo>
                <a:lnTo>
                  <a:pt x="216789" y="440183"/>
                </a:lnTo>
                <a:lnTo>
                  <a:pt x="232410" y="458724"/>
                </a:lnTo>
                <a:lnTo>
                  <a:pt x="254762" y="460248"/>
                </a:lnTo>
                <a:lnTo>
                  <a:pt x="272923" y="447675"/>
                </a:lnTo>
                <a:lnTo>
                  <a:pt x="275463" y="423799"/>
                </a:lnTo>
                <a:close/>
                <a:moveTo>
                  <a:pt x="-2910078" y="5486400"/>
                </a:moveTo>
              </a:path>
            </a:pathLst>
          </a:custGeom>
          <a:solidFill>
            <a:srgbClr val="EBBD1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57" name="Freeform 657"/>
          <p:cNvSpPr/>
          <p:nvPr/>
        </p:nvSpPr>
        <p:spPr>
          <a:xfrm>
            <a:off x="8962897" y="1543050"/>
            <a:ext cx="82170" cy="258318"/>
          </a:xfrm>
          <a:custGeom>
            <a:avLst/>
            <a:gdLst/>
            <a:ahLst/>
            <a:cxnLst/>
            <a:rect l="0" t="0" r="0" b="0"/>
            <a:pathLst>
              <a:path w="82170" h="258318">
                <a:moveTo>
                  <a:pt x="82170" y="176149"/>
                </a:moveTo>
                <a:lnTo>
                  <a:pt x="78995" y="123698"/>
                </a:lnTo>
                <a:lnTo>
                  <a:pt x="71247" y="71629"/>
                </a:lnTo>
                <a:lnTo>
                  <a:pt x="59309" y="20193"/>
                </a:lnTo>
                <a:lnTo>
                  <a:pt x="21591" y="0"/>
                </a:lnTo>
                <a:lnTo>
                  <a:pt x="3303" y="12700"/>
                </a:lnTo>
                <a:lnTo>
                  <a:pt x="0" y="36577"/>
                </a:lnTo>
                <a:lnTo>
                  <a:pt x="11304" y="84202"/>
                </a:lnTo>
                <a:lnTo>
                  <a:pt x="18161" y="131954"/>
                </a:lnTo>
                <a:lnTo>
                  <a:pt x="20829" y="180086"/>
                </a:lnTo>
                <a:lnTo>
                  <a:pt x="19432" y="228854"/>
                </a:lnTo>
                <a:lnTo>
                  <a:pt x="27306" y="250953"/>
                </a:lnTo>
                <a:lnTo>
                  <a:pt x="47753" y="258318"/>
                </a:lnTo>
                <a:lnTo>
                  <a:pt x="69343" y="250953"/>
                </a:lnTo>
                <a:lnTo>
                  <a:pt x="80646" y="228854"/>
                </a:lnTo>
                <a:lnTo>
                  <a:pt x="82170" y="176149"/>
                </a:lnTo>
                <a:close/>
                <a:moveTo>
                  <a:pt x="-3824096" y="5314950"/>
                </a:moveTo>
              </a:path>
            </a:pathLst>
          </a:custGeom>
          <a:solidFill>
            <a:srgbClr val="EBBD1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58" name="Freeform 658"/>
          <p:cNvSpPr/>
          <p:nvPr/>
        </p:nvSpPr>
        <p:spPr>
          <a:xfrm>
            <a:off x="9814052" y="1641729"/>
            <a:ext cx="835787" cy="449707"/>
          </a:xfrm>
          <a:custGeom>
            <a:avLst/>
            <a:gdLst/>
            <a:ahLst/>
            <a:cxnLst/>
            <a:rect l="0" t="0" r="0" b="0"/>
            <a:pathLst>
              <a:path w="835787" h="449707">
                <a:moveTo>
                  <a:pt x="835787" y="36450"/>
                </a:moveTo>
                <a:lnTo>
                  <a:pt x="831977" y="14860"/>
                </a:lnTo>
                <a:lnTo>
                  <a:pt x="814831" y="0"/>
                </a:lnTo>
                <a:lnTo>
                  <a:pt x="790193" y="1525"/>
                </a:lnTo>
                <a:lnTo>
                  <a:pt x="14731" y="394970"/>
                </a:lnTo>
                <a:lnTo>
                  <a:pt x="0" y="413386"/>
                </a:lnTo>
                <a:lnTo>
                  <a:pt x="4064" y="434849"/>
                </a:lnTo>
                <a:lnTo>
                  <a:pt x="21208" y="449707"/>
                </a:lnTo>
                <a:lnTo>
                  <a:pt x="45846" y="447802"/>
                </a:lnTo>
                <a:lnTo>
                  <a:pt x="820801" y="54737"/>
                </a:lnTo>
                <a:lnTo>
                  <a:pt x="835787" y="36450"/>
                </a:lnTo>
                <a:close/>
                <a:moveTo>
                  <a:pt x="-4634231" y="5216271"/>
                </a:moveTo>
              </a:path>
            </a:pathLst>
          </a:custGeom>
          <a:solidFill>
            <a:srgbClr val="EBBD1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59" name="Freeform 659"/>
          <p:cNvSpPr/>
          <p:nvPr/>
        </p:nvSpPr>
        <p:spPr>
          <a:xfrm>
            <a:off x="10293350" y="3558667"/>
            <a:ext cx="389890" cy="308229"/>
          </a:xfrm>
          <a:custGeom>
            <a:avLst/>
            <a:gdLst/>
            <a:ahLst/>
            <a:cxnLst/>
            <a:rect l="0" t="0" r="0" b="0"/>
            <a:pathLst>
              <a:path w="389890" h="308229">
                <a:moveTo>
                  <a:pt x="389890" y="271526"/>
                </a:moveTo>
                <a:lnTo>
                  <a:pt x="375793" y="251714"/>
                </a:lnTo>
                <a:lnTo>
                  <a:pt x="332231" y="224156"/>
                </a:lnTo>
                <a:lnTo>
                  <a:pt x="289559" y="195073"/>
                </a:lnTo>
                <a:lnTo>
                  <a:pt x="247650" y="164592"/>
                </a:lnTo>
                <a:lnTo>
                  <a:pt x="206247" y="133097"/>
                </a:lnTo>
                <a:lnTo>
                  <a:pt x="165354" y="101092"/>
                </a:lnTo>
                <a:lnTo>
                  <a:pt x="84073" y="36704"/>
                </a:lnTo>
                <a:lnTo>
                  <a:pt x="43433" y="5207"/>
                </a:lnTo>
                <a:lnTo>
                  <a:pt x="21081" y="0"/>
                </a:lnTo>
                <a:lnTo>
                  <a:pt x="4698" y="13843"/>
                </a:lnTo>
                <a:lnTo>
                  <a:pt x="0" y="36576"/>
                </a:lnTo>
                <a:lnTo>
                  <a:pt x="12827" y="58548"/>
                </a:lnTo>
                <a:lnTo>
                  <a:pt x="53467" y="90044"/>
                </a:lnTo>
                <a:lnTo>
                  <a:pt x="134746" y="154306"/>
                </a:lnTo>
                <a:lnTo>
                  <a:pt x="175641" y="186310"/>
                </a:lnTo>
                <a:lnTo>
                  <a:pt x="217043" y="217806"/>
                </a:lnTo>
                <a:lnTo>
                  <a:pt x="258953" y="248285"/>
                </a:lnTo>
                <a:lnTo>
                  <a:pt x="301625" y="277495"/>
                </a:lnTo>
                <a:lnTo>
                  <a:pt x="345058" y="305054"/>
                </a:lnTo>
                <a:lnTo>
                  <a:pt x="368807" y="308229"/>
                </a:lnTo>
                <a:lnTo>
                  <a:pt x="385698" y="293751"/>
                </a:lnTo>
                <a:lnTo>
                  <a:pt x="389890" y="271526"/>
                </a:lnTo>
                <a:close/>
                <a:moveTo>
                  <a:pt x="-7265543" y="3299333"/>
                </a:moveTo>
              </a:path>
            </a:pathLst>
          </a:custGeom>
          <a:solidFill>
            <a:srgbClr val="EBBD1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60" name="Freeform 660"/>
          <p:cNvSpPr/>
          <p:nvPr/>
        </p:nvSpPr>
        <p:spPr>
          <a:xfrm>
            <a:off x="10366629" y="2740406"/>
            <a:ext cx="939546" cy="286131"/>
          </a:xfrm>
          <a:custGeom>
            <a:avLst/>
            <a:gdLst/>
            <a:ahLst/>
            <a:cxnLst/>
            <a:rect l="0" t="0" r="0" b="0"/>
            <a:pathLst>
              <a:path w="939546" h="286131">
                <a:moveTo>
                  <a:pt x="939546" y="249810"/>
                </a:moveTo>
                <a:lnTo>
                  <a:pt x="876553" y="212217"/>
                </a:lnTo>
                <a:lnTo>
                  <a:pt x="828675" y="192786"/>
                </a:lnTo>
                <a:lnTo>
                  <a:pt x="780541" y="174244"/>
                </a:lnTo>
                <a:lnTo>
                  <a:pt x="732027" y="156465"/>
                </a:lnTo>
                <a:lnTo>
                  <a:pt x="683260" y="139573"/>
                </a:lnTo>
                <a:lnTo>
                  <a:pt x="634238" y="123572"/>
                </a:lnTo>
                <a:lnTo>
                  <a:pt x="584962" y="108459"/>
                </a:lnTo>
                <a:lnTo>
                  <a:pt x="535559" y="94108"/>
                </a:lnTo>
                <a:lnTo>
                  <a:pt x="485775" y="80773"/>
                </a:lnTo>
                <a:lnTo>
                  <a:pt x="435864" y="68199"/>
                </a:lnTo>
                <a:lnTo>
                  <a:pt x="385699" y="56516"/>
                </a:lnTo>
                <a:lnTo>
                  <a:pt x="335279" y="45848"/>
                </a:lnTo>
                <a:lnTo>
                  <a:pt x="284734" y="35941"/>
                </a:lnTo>
                <a:lnTo>
                  <a:pt x="234061" y="26924"/>
                </a:lnTo>
                <a:lnTo>
                  <a:pt x="183134" y="18923"/>
                </a:lnTo>
                <a:lnTo>
                  <a:pt x="131952" y="11685"/>
                </a:lnTo>
                <a:lnTo>
                  <a:pt x="80772" y="5335"/>
                </a:lnTo>
                <a:lnTo>
                  <a:pt x="29337" y="0"/>
                </a:lnTo>
                <a:lnTo>
                  <a:pt x="7239" y="7621"/>
                </a:lnTo>
                <a:lnTo>
                  <a:pt x="0" y="28067"/>
                </a:lnTo>
                <a:lnTo>
                  <a:pt x="7492" y="49785"/>
                </a:lnTo>
                <a:lnTo>
                  <a:pt x="29337" y="61468"/>
                </a:lnTo>
                <a:lnTo>
                  <a:pt x="78866" y="66675"/>
                </a:lnTo>
                <a:lnTo>
                  <a:pt x="128269" y="72772"/>
                </a:lnTo>
                <a:lnTo>
                  <a:pt x="177673" y="79756"/>
                </a:lnTo>
                <a:lnTo>
                  <a:pt x="226822" y="87504"/>
                </a:lnTo>
                <a:lnTo>
                  <a:pt x="275843" y="96266"/>
                </a:lnTo>
                <a:lnTo>
                  <a:pt x="324739" y="105791"/>
                </a:lnTo>
                <a:lnTo>
                  <a:pt x="373379" y="116079"/>
                </a:lnTo>
                <a:lnTo>
                  <a:pt x="421893" y="127381"/>
                </a:lnTo>
                <a:lnTo>
                  <a:pt x="470153" y="139447"/>
                </a:lnTo>
                <a:lnTo>
                  <a:pt x="518287" y="152273"/>
                </a:lnTo>
                <a:lnTo>
                  <a:pt x="566165" y="166116"/>
                </a:lnTo>
                <a:lnTo>
                  <a:pt x="613664" y="180594"/>
                </a:lnTo>
                <a:lnTo>
                  <a:pt x="661035" y="196089"/>
                </a:lnTo>
                <a:lnTo>
                  <a:pt x="708025" y="212344"/>
                </a:lnTo>
                <a:lnTo>
                  <a:pt x="754761" y="229362"/>
                </a:lnTo>
                <a:lnTo>
                  <a:pt x="801242" y="247269"/>
                </a:lnTo>
                <a:lnTo>
                  <a:pt x="847343" y="265939"/>
                </a:lnTo>
                <a:lnTo>
                  <a:pt x="893064" y="285369"/>
                </a:lnTo>
                <a:lnTo>
                  <a:pt x="918082" y="286131"/>
                </a:lnTo>
                <a:lnTo>
                  <a:pt x="935481" y="270891"/>
                </a:lnTo>
                <a:lnTo>
                  <a:pt x="939546" y="249810"/>
                </a:lnTo>
                <a:close/>
                <a:moveTo>
                  <a:pt x="-6498845" y="4117594"/>
                </a:moveTo>
              </a:path>
            </a:pathLst>
          </a:custGeom>
          <a:solidFill>
            <a:srgbClr val="EBBD1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661" name="Picture 661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277100" y="3009900"/>
            <a:ext cx="180975" cy="152400"/>
          </a:xfrm>
          <a:prstGeom prst="rect">
            <a:avLst/>
          </a:prstGeom>
          <a:noFill/>
        </p:spPr>
      </p:pic>
      <p:sp>
        <p:nvSpPr>
          <p:cNvPr id="662" name="Freeform 662"/>
          <p:cNvSpPr/>
          <p:nvPr/>
        </p:nvSpPr>
        <p:spPr>
          <a:xfrm>
            <a:off x="7105650" y="3638550"/>
            <a:ext cx="401066" cy="644399"/>
          </a:xfrm>
          <a:custGeom>
            <a:avLst/>
            <a:gdLst/>
            <a:ahLst/>
            <a:cxnLst/>
            <a:rect l="0" t="0" r="0" b="0"/>
            <a:pathLst>
              <a:path w="401066" h="644399">
                <a:moveTo>
                  <a:pt x="401066" y="21336"/>
                </a:moveTo>
                <a:lnTo>
                  <a:pt x="387222" y="4827"/>
                </a:lnTo>
                <a:lnTo>
                  <a:pt x="364490" y="0"/>
                </a:lnTo>
                <a:lnTo>
                  <a:pt x="342645" y="12446"/>
                </a:lnTo>
                <a:lnTo>
                  <a:pt x="313055" y="52071"/>
                </a:lnTo>
                <a:lnTo>
                  <a:pt x="284226" y="92075"/>
                </a:lnTo>
                <a:lnTo>
                  <a:pt x="256285" y="132715"/>
                </a:lnTo>
                <a:lnTo>
                  <a:pt x="228981" y="173864"/>
                </a:lnTo>
                <a:lnTo>
                  <a:pt x="202565" y="215393"/>
                </a:lnTo>
                <a:lnTo>
                  <a:pt x="176910" y="257430"/>
                </a:lnTo>
                <a:lnTo>
                  <a:pt x="152145" y="299848"/>
                </a:lnTo>
                <a:lnTo>
                  <a:pt x="128016" y="342774"/>
                </a:lnTo>
                <a:lnTo>
                  <a:pt x="104775" y="386080"/>
                </a:lnTo>
                <a:lnTo>
                  <a:pt x="82168" y="429896"/>
                </a:lnTo>
                <a:lnTo>
                  <a:pt x="60452" y="474092"/>
                </a:lnTo>
                <a:lnTo>
                  <a:pt x="39496" y="518796"/>
                </a:lnTo>
                <a:lnTo>
                  <a:pt x="19431" y="563753"/>
                </a:lnTo>
                <a:lnTo>
                  <a:pt x="0" y="609093"/>
                </a:lnTo>
                <a:lnTo>
                  <a:pt x="634" y="632080"/>
                </a:lnTo>
                <a:lnTo>
                  <a:pt x="18160" y="644399"/>
                </a:lnTo>
                <a:lnTo>
                  <a:pt x="41529" y="643128"/>
                </a:lnTo>
                <a:lnTo>
                  <a:pt x="59435" y="625475"/>
                </a:lnTo>
                <a:lnTo>
                  <a:pt x="79882" y="577850"/>
                </a:lnTo>
                <a:lnTo>
                  <a:pt x="101218" y="530606"/>
                </a:lnTo>
                <a:lnTo>
                  <a:pt x="123570" y="483743"/>
                </a:lnTo>
                <a:lnTo>
                  <a:pt x="146811" y="437515"/>
                </a:lnTo>
                <a:lnTo>
                  <a:pt x="171068" y="391668"/>
                </a:lnTo>
                <a:lnTo>
                  <a:pt x="196088" y="346330"/>
                </a:lnTo>
                <a:lnTo>
                  <a:pt x="222122" y="301499"/>
                </a:lnTo>
                <a:lnTo>
                  <a:pt x="248919" y="257175"/>
                </a:lnTo>
                <a:lnTo>
                  <a:pt x="276606" y="213361"/>
                </a:lnTo>
                <a:lnTo>
                  <a:pt x="305181" y="170053"/>
                </a:lnTo>
                <a:lnTo>
                  <a:pt x="334644" y="127381"/>
                </a:lnTo>
                <a:lnTo>
                  <a:pt x="364870" y="85218"/>
                </a:lnTo>
                <a:lnTo>
                  <a:pt x="395858" y="43689"/>
                </a:lnTo>
                <a:lnTo>
                  <a:pt x="401066" y="21336"/>
                </a:lnTo>
                <a:close/>
                <a:moveTo>
                  <a:pt x="-3907536" y="3219450"/>
                </a:moveTo>
              </a:path>
            </a:pathLst>
          </a:custGeom>
          <a:solidFill>
            <a:srgbClr val="EBBD1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63" name="Freeform 663"/>
          <p:cNvSpPr/>
          <p:nvPr/>
        </p:nvSpPr>
        <p:spPr>
          <a:xfrm>
            <a:off x="8613775" y="3854450"/>
            <a:ext cx="89661" cy="622174"/>
          </a:xfrm>
          <a:custGeom>
            <a:avLst/>
            <a:gdLst/>
            <a:ahLst/>
            <a:cxnLst/>
            <a:rect l="0" t="0" r="0" b="0"/>
            <a:pathLst>
              <a:path w="89661" h="622174">
                <a:moveTo>
                  <a:pt x="89661" y="29211"/>
                </a:moveTo>
                <a:lnTo>
                  <a:pt x="82931" y="7367"/>
                </a:lnTo>
                <a:lnTo>
                  <a:pt x="62738" y="0"/>
                </a:lnTo>
                <a:lnTo>
                  <a:pt x="40640" y="7367"/>
                </a:lnTo>
                <a:lnTo>
                  <a:pt x="21843" y="80137"/>
                </a:lnTo>
                <a:lnTo>
                  <a:pt x="16382" y="131192"/>
                </a:lnTo>
                <a:lnTo>
                  <a:pt x="11683" y="182246"/>
                </a:lnTo>
                <a:lnTo>
                  <a:pt x="7746" y="233299"/>
                </a:lnTo>
                <a:lnTo>
                  <a:pt x="4571" y="284480"/>
                </a:lnTo>
                <a:lnTo>
                  <a:pt x="2285" y="335789"/>
                </a:lnTo>
                <a:lnTo>
                  <a:pt x="634" y="387096"/>
                </a:lnTo>
                <a:lnTo>
                  <a:pt x="0" y="438405"/>
                </a:lnTo>
                <a:lnTo>
                  <a:pt x="0" y="489712"/>
                </a:lnTo>
                <a:lnTo>
                  <a:pt x="889" y="541148"/>
                </a:lnTo>
                <a:lnTo>
                  <a:pt x="2667" y="592583"/>
                </a:lnTo>
                <a:lnTo>
                  <a:pt x="13081" y="614808"/>
                </a:lnTo>
                <a:lnTo>
                  <a:pt x="34543" y="622174"/>
                </a:lnTo>
                <a:lnTo>
                  <a:pt x="55371" y="614808"/>
                </a:lnTo>
                <a:lnTo>
                  <a:pt x="64007" y="592583"/>
                </a:lnTo>
                <a:lnTo>
                  <a:pt x="62356" y="541148"/>
                </a:lnTo>
                <a:lnTo>
                  <a:pt x="61468" y="489712"/>
                </a:lnTo>
                <a:lnTo>
                  <a:pt x="61468" y="438405"/>
                </a:lnTo>
                <a:lnTo>
                  <a:pt x="62230" y="387096"/>
                </a:lnTo>
                <a:lnTo>
                  <a:pt x="63754" y="335789"/>
                </a:lnTo>
                <a:lnTo>
                  <a:pt x="66040" y="284480"/>
                </a:lnTo>
                <a:lnTo>
                  <a:pt x="69215" y="233299"/>
                </a:lnTo>
                <a:lnTo>
                  <a:pt x="73152" y="182246"/>
                </a:lnTo>
                <a:lnTo>
                  <a:pt x="77851" y="131192"/>
                </a:lnTo>
                <a:lnTo>
                  <a:pt x="83311" y="80137"/>
                </a:lnTo>
                <a:lnTo>
                  <a:pt x="89661" y="29211"/>
                </a:lnTo>
                <a:close/>
                <a:moveTo>
                  <a:pt x="-5639436" y="3003550"/>
                </a:moveTo>
              </a:path>
            </a:pathLst>
          </a:custGeom>
          <a:solidFill>
            <a:srgbClr val="EBBD1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64" name="Freeform 664"/>
          <p:cNvSpPr/>
          <p:nvPr/>
        </p:nvSpPr>
        <p:spPr>
          <a:xfrm>
            <a:off x="9386061" y="3769487"/>
            <a:ext cx="110109" cy="256668"/>
          </a:xfrm>
          <a:custGeom>
            <a:avLst/>
            <a:gdLst/>
            <a:ahLst/>
            <a:cxnLst/>
            <a:rect l="0" t="0" r="0" b="0"/>
            <a:pathLst>
              <a:path w="110109" h="256668">
                <a:moveTo>
                  <a:pt x="110109" y="219456"/>
                </a:moveTo>
                <a:lnTo>
                  <a:pt x="101220" y="168530"/>
                </a:lnTo>
                <a:lnTo>
                  <a:pt x="89790" y="118237"/>
                </a:lnTo>
                <a:lnTo>
                  <a:pt x="75820" y="68581"/>
                </a:lnTo>
                <a:lnTo>
                  <a:pt x="59436" y="19559"/>
                </a:lnTo>
                <a:lnTo>
                  <a:pt x="19685" y="0"/>
                </a:lnTo>
                <a:lnTo>
                  <a:pt x="1779" y="12446"/>
                </a:lnTo>
                <a:lnTo>
                  <a:pt x="0" y="35941"/>
                </a:lnTo>
                <a:lnTo>
                  <a:pt x="16383" y="84963"/>
                </a:lnTo>
                <a:lnTo>
                  <a:pt x="30354" y="134493"/>
                </a:lnTo>
                <a:lnTo>
                  <a:pt x="41783" y="184786"/>
                </a:lnTo>
                <a:lnTo>
                  <a:pt x="50800" y="235840"/>
                </a:lnTo>
                <a:lnTo>
                  <a:pt x="63500" y="255016"/>
                </a:lnTo>
                <a:lnTo>
                  <a:pt x="85091" y="256668"/>
                </a:lnTo>
                <a:lnTo>
                  <a:pt x="104268" y="243713"/>
                </a:lnTo>
                <a:lnTo>
                  <a:pt x="110109" y="219456"/>
                </a:lnTo>
                <a:close/>
                <a:moveTo>
                  <a:pt x="-6517004" y="3088513"/>
                </a:moveTo>
              </a:path>
            </a:pathLst>
          </a:custGeom>
          <a:solidFill>
            <a:srgbClr val="EBBD1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665" name="Picture 665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162425" y="4629150"/>
            <a:ext cx="1133475" cy="1143000"/>
          </a:xfrm>
          <a:prstGeom prst="rect">
            <a:avLst/>
          </a:prstGeom>
          <a:noFill/>
        </p:spPr>
      </p:pic>
      <p:pic>
        <p:nvPicPr>
          <p:cNvPr id="666" name="Picture 666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38600" y="5800725"/>
            <a:ext cx="76200" cy="104775"/>
          </a:xfrm>
          <a:prstGeom prst="rect">
            <a:avLst/>
          </a:prstGeom>
          <a:noFill/>
        </p:spPr>
      </p:pic>
      <p:pic>
        <p:nvPicPr>
          <p:cNvPr id="667" name="Picture 667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133850" y="5800725"/>
            <a:ext cx="95250" cy="104775"/>
          </a:xfrm>
          <a:prstGeom prst="rect">
            <a:avLst/>
          </a:prstGeom>
          <a:noFill/>
        </p:spPr>
      </p:pic>
      <p:pic>
        <p:nvPicPr>
          <p:cNvPr id="668" name="Picture 668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57675" y="5800725"/>
            <a:ext cx="180975" cy="104775"/>
          </a:xfrm>
          <a:prstGeom prst="rect">
            <a:avLst/>
          </a:prstGeom>
          <a:noFill/>
        </p:spPr>
      </p:pic>
      <p:sp>
        <p:nvSpPr>
          <p:cNvPr id="669" name="Freeform 669"/>
          <p:cNvSpPr/>
          <p:nvPr/>
        </p:nvSpPr>
        <p:spPr>
          <a:xfrm>
            <a:off x="4457700" y="5762625"/>
            <a:ext cx="28066" cy="19673"/>
          </a:xfrm>
          <a:custGeom>
            <a:avLst/>
            <a:gdLst/>
            <a:ahLst/>
            <a:cxnLst/>
            <a:rect l="0" t="0" r="0" b="0"/>
            <a:pathLst>
              <a:path w="28066" h="19673">
                <a:moveTo>
                  <a:pt x="22478" y="0"/>
                </a:moveTo>
                <a:lnTo>
                  <a:pt x="5588" y="0"/>
                </a:lnTo>
                <a:lnTo>
                  <a:pt x="0" y="4915"/>
                </a:lnTo>
                <a:lnTo>
                  <a:pt x="0" y="14758"/>
                </a:lnTo>
                <a:lnTo>
                  <a:pt x="5588" y="19673"/>
                </a:lnTo>
                <a:lnTo>
                  <a:pt x="22478" y="19673"/>
                </a:lnTo>
                <a:lnTo>
                  <a:pt x="28066" y="14758"/>
                </a:lnTo>
                <a:lnTo>
                  <a:pt x="28066" y="4915"/>
                </a:lnTo>
                <a:lnTo>
                  <a:pt x="22478" y="0"/>
                </a:lnTo>
                <a:close/>
                <a:moveTo>
                  <a:pt x="-3362325" y="1095375"/>
                </a:moveTo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70" name="Freeform 670"/>
          <p:cNvSpPr/>
          <p:nvPr/>
        </p:nvSpPr>
        <p:spPr>
          <a:xfrm>
            <a:off x="4463288" y="5811809"/>
            <a:ext cx="16875" cy="93450"/>
          </a:xfrm>
          <a:custGeom>
            <a:avLst/>
            <a:gdLst/>
            <a:ahLst/>
            <a:cxnLst/>
            <a:rect l="0" t="0" r="0" b="0"/>
            <a:pathLst>
              <a:path w="16875" h="93450">
                <a:moveTo>
                  <a:pt x="0" y="93450"/>
                </a:moveTo>
                <a:lnTo>
                  <a:pt x="16875" y="93450"/>
                </a:lnTo>
                <a:lnTo>
                  <a:pt x="16875" y="0"/>
                </a:lnTo>
                <a:lnTo>
                  <a:pt x="0" y="0"/>
                </a:lnTo>
                <a:lnTo>
                  <a:pt x="0" y="9345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671" name="Picture 671"/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14850" y="5800725"/>
            <a:ext cx="76200" cy="104775"/>
          </a:xfrm>
          <a:prstGeom prst="rect">
            <a:avLst/>
          </a:prstGeom>
          <a:noFill/>
        </p:spPr>
      </p:pic>
      <p:pic>
        <p:nvPicPr>
          <p:cNvPr id="672" name="Picture 672"/>
          <p:cNvPicPr>
            <a:picLocks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10100" y="5772150"/>
            <a:ext cx="142875" cy="133350"/>
          </a:xfrm>
          <a:prstGeom prst="rect">
            <a:avLst/>
          </a:prstGeom>
          <a:noFill/>
        </p:spPr>
      </p:pic>
      <p:pic>
        <p:nvPicPr>
          <p:cNvPr id="673" name="Picture 673"/>
          <p:cNvPicPr>
            <a:picLocks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781550" y="5762625"/>
            <a:ext cx="190500" cy="152400"/>
          </a:xfrm>
          <a:prstGeom prst="rect">
            <a:avLst/>
          </a:prstGeom>
          <a:noFill/>
        </p:spPr>
      </p:pic>
      <p:pic>
        <p:nvPicPr>
          <p:cNvPr id="674" name="Picture 674"/>
          <p:cNvPicPr>
            <a:picLocks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000625" y="5800725"/>
            <a:ext cx="466725" cy="114300"/>
          </a:xfrm>
          <a:prstGeom prst="rect">
            <a:avLst/>
          </a:prstGeom>
          <a:noFill/>
        </p:spPr>
      </p:pic>
      <p:pic>
        <p:nvPicPr>
          <p:cNvPr id="675" name="Picture 675"/>
          <p:cNvPicPr>
            <a:picLocks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71525" y="4867275"/>
            <a:ext cx="742950" cy="714375"/>
          </a:xfrm>
          <a:prstGeom prst="rect">
            <a:avLst/>
          </a:prstGeom>
          <a:noFill/>
        </p:spPr>
      </p:pic>
      <p:pic>
        <p:nvPicPr>
          <p:cNvPr id="676" name="Picture 676"/>
          <p:cNvPicPr>
            <a:picLocks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0575" y="2971800"/>
            <a:ext cx="457200" cy="847725"/>
          </a:xfrm>
          <a:prstGeom prst="rect">
            <a:avLst/>
          </a:prstGeom>
          <a:noFill/>
        </p:spPr>
      </p:pic>
      <p:sp>
        <p:nvSpPr>
          <p:cNvPr id="677" name="Freeform 677"/>
          <p:cNvSpPr/>
          <p:nvPr/>
        </p:nvSpPr>
        <p:spPr>
          <a:xfrm>
            <a:off x="657225" y="1752545"/>
            <a:ext cx="1047750" cy="66096"/>
          </a:xfrm>
          <a:custGeom>
            <a:avLst/>
            <a:gdLst/>
            <a:ahLst/>
            <a:cxnLst/>
            <a:rect l="0" t="0" r="0" b="0"/>
            <a:pathLst>
              <a:path w="1047750" h="66096">
                <a:moveTo>
                  <a:pt x="0" y="66096"/>
                </a:moveTo>
                <a:lnTo>
                  <a:pt x="1047750" y="66096"/>
                </a:lnTo>
                <a:lnTo>
                  <a:pt x="1047750" y="0"/>
                </a:lnTo>
                <a:lnTo>
                  <a:pt x="0" y="0"/>
                </a:lnTo>
                <a:lnTo>
                  <a:pt x="0" y="66096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78" name="Rectangle 678"/>
          <p:cNvSpPr/>
          <p:nvPr/>
        </p:nvSpPr>
        <p:spPr>
          <a:xfrm>
            <a:off x="11418951" y="6400508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22</a:t>
            </a:r>
          </a:p>
        </p:txBody>
      </p:sp>
      <p:sp>
        <p:nvSpPr>
          <p:cNvPr id="679" name="Rectangle 679"/>
          <p:cNvSpPr/>
          <p:nvPr/>
        </p:nvSpPr>
        <p:spPr>
          <a:xfrm>
            <a:off x="797559" y="3926686"/>
            <a:ext cx="2332350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Menta</a:t>
            </a:r>
            <a:r>
              <a:rPr lang="fr-FR" sz="1802" b="0" i="0" spc="489" baseline="0" dirty="0">
                <a:solidFill>
                  <a:srgbClr val="FFFFFF"/>
                </a:solidFill>
                <a:latin typeface="Arial"/>
              </a:rPr>
              <a:t>l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Mat</a:t>
            </a:r>
            <a:r>
              <a:rPr lang="fr-FR" sz="1802" b="0" i="0" spc="463" baseline="0" dirty="0">
                <a:solidFill>
                  <a:srgbClr val="FFFFFF"/>
                </a:solidFill>
                <a:latin typeface="Arial"/>
              </a:rPr>
              <a:t>h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Challenge</a:t>
            </a:r>
          </a:p>
        </p:txBody>
      </p:sp>
      <p:sp>
        <p:nvSpPr>
          <p:cNvPr id="680" name="Rectangle 680"/>
          <p:cNvSpPr/>
          <p:nvPr/>
        </p:nvSpPr>
        <p:spPr>
          <a:xfrm>
            <a:off x="980122" y="4886323"/>
            <a:ext cx="286040" cy="34452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027" b="0" i="0" spc="0" baseline="0" dirty="0">
                <a:solidFill>
                  <a:srgbClr val="FFFFFF"/>
                </a:solidFill>
                <a:latin typeface="Arial"/>
              </a:rPr>
              <a:t>42</a:t>
            </a:r>
          </a:p>
        </p:txBody>
      </p:sp>
      <p:sp>
        <p:nvSpPr>
          <p:cNvPr id="681" name="Rectangle 681"/>
          <p:cNvSpPr/>
          <p:nvPr/>
        </p:nvSpPr>
        <p:spPr>
          <a:xfrm>
            <a:off x="899477" y="5162929"/>
            <a:ext cx="351445" cy="3540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027" b="0" i="0" spc="626" baseline="0" dirty="0">
                <a:solidFill>
                  <a:srgbClr val="FFFFFF"/>
                </a:solidFill>
                <a:latin typeface="Arial"/>
              </a:rPr>
              <a:t>x</a:t>
            </a:r>
            <a:r>
              <a:rPr lang="fr-FR" sz="3071" b="0" i="0" spc="626" baseline="-3699" dirty="0">
                <a:solidFill>
                  <a:srgbClr val="FFFFFF"/>
                </a:solidFill>
                <a:latin typeface="Arial"/>
              </a:rPr>
              <a:t>8</a:t>
            </a:r>
          </a:p>
        </p:txBody>
      </p:sp>
      <p:sp>
        <p:nvSpPr>
          <p:cNvPr id="682" name="Rectangle 682"/>
          <p:cNvSpPr/>
          <p:nvPr/>
        </p:nvSpPr>
        <p:spPr>
          <a:xfrm>
            <a:off x="797559" y="5719672"/>
            <a:ext cx="1921288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Menta</a:t>
            </a:r>
            <a:r>
              <a:rPr lang="fr-FR" sz="1802" b="0" i="0" spc="494" baseline="0" dirty="0">
                <a:solidFill>
                  <a:srgbClr val="FFFFFF"/>
                </a:solidFill>
                <a:latin typeface="Arial"/>
              </a:rPr>
              <a:t>l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Mat</a:t>
            </a:r>
            <a:r>
              <a:rPr lang="fr-FR" sz="1802" b="0" i="0" spc="473" baseline="0" dirty="0">
                <a:solidFill>
                  <a:srgbClr val="FFFFFF"/>
                </a:solidFill>
                <a:latin typeface="Arial"/>
              </a:rPr>
              <a:t>h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Cards</a:t>
            </a:r>
          </a:p>
        </p:txBody>
      </p:sp>
      <p:sp>
        <p:nvSpPr>
          <p:cNvPr id="683" name="Rectangle 683"/>
          <p:cNvSpPr/>
          <p:nvPr/>
        </p:nvSpPr>
        <p:spPr>
          <a:xfrm>
            <a:off x="640715" y="501087"/>
            <a:ext cx="3592276" cy="112756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0" i="0" spc="0" baseline="0" dirty="0">
                <a:solidFill>
                  <a:srgbClr val="FFFFFF"/>
                </a:solidFill>
                <a:latin typeface="Arial"/>
              </a:rPr>
              <a:t>Ti</a:t>
            </a:r>
            <a:r>
              <a:rPr lang="fr-FR" sz="3604" b="0" i="0" spc="888" baseline="0" dirty="0">
                <a:solidFill>
                  <a:srgbClr val="FFFFFF"/>
                </a:solidFill>
                <a:latin typeface="Arial"/>
              </a:rPr>
              <a:t>p</a:t>
            </a:r>
            <a:r>
              <a:rPr lang="fr-FR" sz="3604" b="0" i="0" spc="0" baseline="0" dirty="0">
                <a:solidFill>
                  <a:srgbClr val="FFFFFF"/>
                </a:solidFill>
                <a:latin typeface="Arial"/>
              </a:rPr>
              <a:t>no.1</a:t>
            </a:r>
          </a:p>
          <a:p>
            <a:pPr marL="0">
              <a:lnSpc>
                <a:spcPts val="4055"/>
              </a:lnSpc>
            </a:pP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Trai</a:t>
            </a:r>
            <a:r>
              <a:rPr lang="fr-FR" sz="3604" b="1" i="0" spc="894" baseline="0" dirty="0">
                <a:solidFill>
                  <a:srgbClr val="FFFFFF"/>
                </a:solidFill>
                <a:latin typeface="Arial"/>
              </a:rPr>
              <a:t>n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you</a:t>
            </a:r>
            <a:r>
              <a:rPr lang="fr-FR" sz="3604" b="1" i="0" spc="991" baseline="0" dirty="0">
                <a:solidFill>
                  <a:srgbClr val="FFFFFF"/>
                </a:solidFill>
                <a:latin typeface="Arial"/>
              </a:rPr>
              <a:t>r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brain!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" name="Freeform 68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85" name="Freeform 685"/>
          <p:cNvSpPr/>
          <p:nvPr/>
        </p:nvSpPr>
        <p:spPr>
          <a:xfrm>
            <a:off x="647700" y="1619279"/>
            <a:ext cx="1094866" cy="66393"/>
          </a:xfrm>
          <a:custGeom>
            <a:avLst/>
            <a:gdLst/>
            <a:ahLst/>
            <a:cxnLst/>
            <a:rect l="0" t="0" r="0" b="0"/>
            <a:pathLst>
              <a:path w="1094866" h="66393">
                <a:moveTo>
                  <a:pt x="0" y="66393"/>
                </a:moveTo>
                <a:lnTo>
                  <a:pt x="1094866" y="66393"/>
                </a:lnTo>
                <a:lnTo>
                  <a:pt x="1094866" y="0"/>
                </a:lnTo>
                <a:lnTo>
                  <a:pt x="0" y="0"/>
                </a:lnTo>
                <a:lnTo>
                  <a:pt x="0" y="66393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86" name="Freeform 686"/>
          <p:cNvSpPr/>
          <p:nvPr/>
        </p:nvSpPr>
        <p:spPr>
          <a:xfrm>
            <a:off x="652462" y="1623978"/>
            <a:ext cx="1094867" cy="66393"/>
          </a:xfrm>
          <a:custGeom>
            <a:avLst/>
            <a:gdLst/>
            <a:ahLst/>
            <a:cxnLst/>
            <a:rect l="0" t="0" r="0" b="0"/>
            <a:pathLst>
              <a:path w="1094867" h="66393">
                <a:moveTo>
                  <a:pt x="0" y="66393"/>
                </a:moveTo>
                <a:lnTo>
                  <a:pt x="1094867" y="66393"/>
                </a:lnTo>
                <a:lnTo>
                  <a:pt x="1094867" y="0"/>
                </a:lnTo>
                <a:lnTo>
                  <a:pt x="0" y="0"/>
                </a:lnTo>
                <a:lnTo>
                  <a:pt x="0" y="66393"/>
                </a:lnTo>
                <a:close/>
              </a:path>
            </a:pathLst>
          </a:custGeom>
          <a:noFill/>
          <a:ln w="10667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687" name="Picture 687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715375" y="1647825"/>
            <a:ext cx="2847975" cy="4105275"/>
          </a:xfrm>
          <a:prstGeom prst="rect">
            <a:avLst/>
          </a:prstGeom>
          <a:noFill/>
        </p:spPr>
      </p:pic>
      <p:sp>
        <p:nvSpPr>
          <p:cNvPr id="688" name="Freeform 688"/>
          <p:cNvSpPr/>
          <p:nvPr/>
        </p:nvSpPr>
        <p:spPr>
          <a:xfrm>
            <a:off x="828675" y="4495800"/>
            <a:ext cx="152336" cy="56770"/>
          </a:xfrm>
          <a:custGeom>
            <a:avLst/>
            <a:gdLst/>
            <a:ahLst/>
            <a:cxnLst/>
            <a:rect l="0" t="0" r="0" b="0"/>
            <a:pathLst>
              <a:path w="152336" h="56770">
                <a:moveTo>
                  <a:pt x="123888" y="0"/>
                </a:moveTo>
                <a:lnTo>
                  <a:pt x="28447" y="0"/>
                </a:lnTo>
                <a:lnTo>
                  <a:pt x="7111" y="8890"/>
                </a:lnTo>
                <a:lnTo>
                  <a:pt x="0" y="28449"/>
                </a:lnTo>
                <a:lnTo>
                  <a:pt x="7111" y="47880"/>
                </a:lnTo>
                <a:lnTo>
                  <a:pt x="28447" y="56770"/>
                </a:lnTo>
                <a:lnTo>
                  <a:pt x="123888" y="56770"/>
                </a:lnTo>
                <a:lnTo>
                  <a:pt x="145224" y="47880"/>
                </a:lnTo>
                <a:lnTo>
                  <a:pt x="152336" y="28449"/>
                </a:lnTo>
                <a:lnTo>
                  <a:pt x="145224" y="8890"/>
                </a:lnTo>
                <a:lnTo>
                  <a:pt x="123888" y="0"/>
                </a:lnTo>
                <a:close/>
                <a:moveTo>
                  <a:pt x="1533525" y="2362200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89" name="Freeform 689"/>
          <p:cNvSpPr/>
          <p:nvPr/>
        </p:nvSpPr>
        <p:spPr>
          <a:xfrm>
            <a:off x="828675" y="4791075"/>
            <a:ext cx="152336" cy="56770"/>
          </a:xfrm>
          <a:custGeom>
            <a:avLst/>
            <a:gdLst/>
            <a:ahLst/>
            <a:cxnLst/>
            <a:rect l="0" t="0" r="0" b="0"/>
            <a:pathLst>
              <a:path w="152336" h="56770">
                <a:moveTo>
                  <a:pt x="123888" y="0"/>
                </a:moveTo>
                <a:lnTo>
                  <a:pt x="28447" y="0"/>
                </a:lnTo>
                <a:lnTo>
                  <a:pt x="7111" y="8890"/>
                </a:lnTo>
                <a:lnTo>
                  <a:pt x="0" y="28449"/>
                </a:lnTo>
                <a:lnTo>
                  <a:pt x="7111" y="47880"/>
                </a:lnTo>
                <a:lnTo>
                  <a:pt x="28447" y="56770"/>
                </a:lnTo>
                <a:lnTo>
                  <a:pt x="123888" y="56770"/>
                </a:lnTo>
                <a:lnTo>
                  <a:pt x="145224" y="47880"/>
                </a:lnTo>
                <a:lnTo>
                  <a:pt x="152336" y="28449"/>
                </a:lnTo>
                <a:lnTo>
                  <a:pt x="145224" y="8890"/>
                </a:lnTo>
                <a:lnTo>
                  <a:pt x="123888" y="0"/>
                </a:lnTo>
                <a:close/>
                <a:moveTo>
                  <a:pt x="1238250" y="2066925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90" name="Freeform 690"/>
          <p:cNvSpPr/>
          <p:nvPr/>
        </p:nvSpPr>
        <p:spPr>
          <a:xfrm>
            <a:off x="828675" y="5038725"/>
            <a:ext cx="152336" cy="66295"/>
          </a:xfrm>
          <a:custGeom>
            <a:avLst/>
            <a:gdLst/>
            <a:ahLst/>
            <a:cxnLst/>
            <a:rect l="0" t="0" r="0" b="0"/>
            <a:pathLst>
              <a:path w="152336" h="66295">
                <a:moveTo>
                  <a:pt x="123888" y="0"/>
                </a:moveTo>
                <a:lnTo>
                  <a:pt x="28447" y="0"/>
                </a:lnTo>
                <a:lnTo>
                  <a:pt x="7111" y="10415"/>
                </a:lnTo>
                <a:lnTo>
                  <a:pt x="0" y="33148"/>
                </a:lnTo>
                <a:lnTo>
                  <a:pt x="7111" y="55880"/>
                </a:lnTo>
                <a:lnTo>
                  <a:pt x="28447" y="66295"/>
                </a:lnTo>
                <a:lnTo>
                  <a:pt x="123888" y="66295"/>
                </a:lnTo>
                <a:lnTo>
                  <a:pt x="145224" y="55880"/>
                </a:lnTo>
                <a:lnTo>
                  <a:pt x="152336" y="33148"/>
                </a:lnTo>
                <a:lnTo>
                  <a:pt x="145224" y="10415"/>
                </a:lnTo>
                <a:lnTo>
                  <a:pt x="123888" y="0"/>
                </a:lnTo>
                <a:close/>
                <a:moveTo>
                  <a:pt x="990600" y="1819275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91" name="Rectangle 691"/>
          <p:cNvSpPr/>
          <p:nvPr/>
        </p:nvSpPr>
        <p:spPr>
          <a:xfrm>
            <a:off x="11418951" y="6397333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23</a:t>
            </a:r>
          </a:p>
        </p:txBody>
      </p:sp>
      <p:sp>
        <p:nvSpPr>
          <p:cNvPr id="692" name="Rectangle 692"/>
          <p:cNvSpPr/>
          <p:nvPr/>
        </p:nvSpPr>
        <p:spPr>
          <a:xfrm>
            <a:off x="630555" y="459812"/>
            <a:ext cx="4406884" cy="112794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BFBFBF"/>
                </a:solidFill>
                <a:latin typeface="Arial"/>
              </a:rPr>
              <a:t>Ti</a:t>
            </a:r>
            <a:r>
              <a:rPr lang="fr-FR" sz="3604" b="1" i="0" spc="936" baseline="0" dirty="0">
                <a:solidFill>
                  <a:srgbClr val="BFBFBF"/>
                </a:solidFill>
                <a:latin typeface="Arial"/>
              </a:rPr>
              <a:t>p</a:t>
            </a:r>
            <a:r>
              <a:rPr lang="fr-FR" sz="3604" b="1" i="0" spc="0" baseline="0" dirty="0">
                <a:solidFill>
                  <a:srgbClr val="BFBFBF"/>
                </a:solidFill>
                <a:latin typeface="Arial"/>
              </a:rPr>
              <a:t>no.2</a:t>
            </a:r>
          </a:p>
          <a:p>
            <a:pPr marL="0">
              <a:lnSpc>
                <a:spcPts val="4058"/>
              </a:lnSpc>
            </a:pP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Organiz</a:t>
            </a:r>
            <a:r>
              <a:rPr lang="fr-FR" sz="3604" b="1" i="0" spc="999" baseline="0" dirty="0">
                <a:solidFill>
                  <a:srgbClr val="466CAD"/>
                </a:solidFill>
                <a:latin typeface="Arial"/>
              </a:rPr>
              <a:t>e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you</a:t>
            </a:r>
            <a:r>
              <a:rPr lang="fr-FR" sz="3604" b="1" i="0" spc="992" baseline="0" dirty="0">
                <a:solidFill>
                  <a:srgbClr val="466CAD"/>
                </a:solidFill>
                <a:latin typeface="Arial"/>
              </a:rPr>
              <a:t>r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notes</a:t>
            </a:r>
          </a:p>
        </p:txBody>
      </p:sp>
      <p:sp>
        <p:nvSpPr>
          <p:cNvPr id="693" name="Rectangle 693"/>
          <p:cNvSpPr/>
          <p:nvPr/>
        </p:nvSpPr>
        <p:spPr>
          <a:xfrm>
            <a:off x="633412" y="2214370"/>
            <a:ext cx="4938207" cy="6498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027" b="1" i="0" spc="0" baseline="0" dirty="0">
                <a:solidFill>
                  <a:srgbClr val="3660A1"/>
                </a:solidFill>
                <a:latin typeface="Arial"/>
              </a:rPr>
              <a:t>Remembe</a:t>
            </a:r>
            <a:r>
              <a:rPr lang="fr-FR" sz="2027" b="1" i="0" spc="454" baseline="0" dirty="0">
                <a:solidFill>
                  <a:srgbClr val="3660A1"/>
                </a:solidFill>
                <a:latin typeface="Arial"/>
              </a:rPr>
              <a:t>r</a:t>
            </a:r>
            <a:r>
              <a:rPr lang="fr-FR" sz="2027" b="1" i="0" spc="0" baseline="0" dirty="0">
                <a:solidFill>
                  <a:srgbClr val="3660A1"/>
                </a:solidFill>
                <a:latin typeface="Arial"/>
              </a:rPr>
              <a:t>tha</a:t>
            </a:r>
            <a:r>
              <a:rPr lang="fr-FR" sz="2027" b="1" i="0" spc="507" baseline="0" dirty="0">
                <a:solidFill>
                  <a:srgbClr val="3660A1"/>
                </a:solidFill>
                <a:latin typeface="Arial"/>
              </a:rPr>
              <a:t>t</a:t>
            </a:r>
            <a:r>
              <a:rPr lang="fr-FR" sz="2027" b="1" i="0" spc="0" baseline="0" dirty="0">
                <a:solidFill>
                  <a:srgbClr val="3660A1"/>
                </a:solidFill>
                <a:latin typeface="Arial"/>
              </a:rPr>
              <a:t>you</a:t>
            </a:r>
            <a:r>
              <a:rPr lang="fr-FR" sz="2027" b="1" i="0" spc="553" baseline="0" dirty="0">
                <a:solidFill>
                  <a:srgbClr val="3660A1"/>
                </a:solidFill>
                <a:latin typeface="Arial"/>
              </a:rPr>
              <a:t>r</a:t>
            </a:r>
            <a:r>
              <a:rPr lang="fr-FR" sz="2027" b="1" i="0" spc="0" baseline="0" dirty="0">
                <a:solidFill>
                  <a:srgbClr val="3660A1"/>
                </a:solidFill>
                <a:latin typeface="Arial"/>
              </a:rPr>
              <a:t>note</a:t>
            </a:r>
            <a:r>
              <a:rPr lang="fr-FR" sz="2027" b="1" i="0" spc="532" baseline="0" dirty="0">
                <a:solidFill>
                  <a:srgbClr val="3660A1"/>
                </a:solidFill>
                <a:latin typeface="Arial"/>
              </a:rPr>
              <a:t>s</a:t>
            </a:r>
            <a:r>
              <a:rPr lang="fr-FR" sz="2027" b="1" i="0" spc="0" baseline="0" dirty="0">
                <a:solidFill>
                  <a:srgbClr val="3660A1"/>
                </a:solidFill>
                <a:latin typeface="Arial"/>
              </a:rPr>
              <a:t>ar</a:t>
            </a:r>
            <a:r>
              <a:rPr lang="fr-FR" sz="2027" b="1" i="0" spc="521" baseline="0" dirty="0">
                <a:solidFill>
                  <a:srgbClr val="3660A1"/>
                </a:solidFill>
                <a:latin typeface="Arial"/>
              </a:rPr>
              <a:t>e</a:t>
            </a:r>
            <a:r>
              <a:rPr lang="fr-FR" sz="2027" b="1" i="0" spc="0" baseline="0" dirty="0">
                <a:solidFill>
                  <a:srgbClr val="3660A1"/>
                </a:solidFill>
                <a:latin typeface="Arial"/>
              </a:rPr>
              <a:t>reflecting </a:t>
            </a:r>
          </a:p>
          <a:p>
            <a:pPr marL="0">
              <a:lnSpc>
                <a:spcPts val="2403"/>
              </a:lnSpc>
            </a:pPr>
            <a:r>
              <a:rPr lang="fr-FR" sz="2027" b="1" i="0" spc="0" baseline="0" dirty="0">
                <a:solidFill>
                  <a:srgbClr val="3660A1"/>
                </a:solidFill>
                <a:latin typeface="Arial"/>
              </a:rPr>
              <a:t>what'</a:t>
            </a:r>
            <a:r>
              <a:rPr lang="fr-FR" sz="2027" b="1" i="0" spc="500" baseline="0" dirty="0">
                <a:solidFill>
                  <a:srgbClr val="3660A1"/>
                </a:solidFill>
                <a:latin typeface="Arial"/>
              </a:rPr>
              <a:t>s</a:t>
            </a:r>
            <a:r>
              <a:rPr lang="fr-FR" sz="2027" b="1" i="0" spc="0" baseline="0" dirty="0">
                <a:solidFill>
                  <a:srgbClr val="3660A1"/>
                </a:solidFill>
                <a:latin typeface="Arial"/>
              </a:rPr>
              <a:t>i</a:t>
            </a:r>
            <a:r>
              <a:rPr lang="fr-FR" sz="2027" b="1" i="0" spc="552" baseline="0" dirty="0">
                <a:solidFill>
                  <a:srgbClr val="3660A1"/>
                </a:solidFill>
                <a:latin typeface="Arial"/>
              </a:rPr>
              <a:t>n</a:t>
            </a:r>
            <a:r>
              <a:rPr lang="fr-FR" sz="2027" b="1" i="0" spc="0" baseline="0" dirty="0">
                <a:solidFill>
                  <a:srgbClr val="3660A1"/>
                </a:solidFill>
                <a:latin typeface="Arial"/>
              </a:rPr>
              <a:t>you</a:t>
            </a:r>
            <a:r>
              <a:rPr lang="fr-FR" sz="2027" b="1" i="0" spc="541" baseline="0" dirty="0">
                <a:solidFill>
                  <a:srgbClr val="3660A1"/>
                </a:solidFill>
                <a:latin typeface="Arial"/>
              </a:rPr>
              <a:t>r</a:t>
            </a:r>
            <a:r>
              <a:rPr lang="fr-FR" sz="2027" b="1" i="0" spc="0" baseline="0" dirty="0">
                <a:solidFill>
                  <a:srgbClr val="3660A1"/>
                </a:solidFill>
                <a:latin typeface="Arial"/>
              </a:rPr>
              <a:t>mind!</a:t>
            </a:r>
          </a:p>
        </p:txBody>
      </p:sp>
      <p:sp>
        <p:nvSpPr>
          <p:cNvPr id="694" name="Rectangle 694"/>
          <p:cNvSpPr/>
          <p:nvPr/>
        </p:nvSpPr>
        <p:spPr>
          <a:xfrm>
            <a:off x="633412" y="3301744"/>
            <a:ext cx="6466071" cy="9550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Us</a:t>
            </a:r>
            <a:r>
              <a:rPr lang="fr-FR" sz="2027" b="0" i="0" spc="507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on</a:t>
            </a:r>
            <a:r>
              <a:rPr lang="fr-FR" sz="2027" b="0" i="0" spc="497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shee</a:t>
            </a:r>
            <a:r>
              <a:rPr lang="fr-FR" sz="2027" b="0" i="0" spc="498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2027" b="0" i="0" spc="503" baseline="0" dirty="0">
                <a:solidFill>
                  <a:srgbClr val="555555"/>
                </a:solidFill>
                <a:latin typeface="Arial"/>
              </a:rPr>
              <a:t>f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pape</a:t>
            </a:r>
            <a:r>
              <a:rPr lang="fr-FR" sz="2027" b="0" i="0" spc="528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2027" b="0" i="0" spc="542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writ</a:t>
            </a:r>
            <a:r>
              <a:rPr lang="fr-FR" sz="2027" b="0" i="0" spc="476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dow</a:t>
            </a:r>
            <a:r>
              <a:rPr lang="fr-FR" sz="2027" b="0" i="0" spc="517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everythin</a:t>
            </a:r>
            <a:r>
              <a:rPr lang="fr-FR" sz="2027" b="0" i="0" spc="533" baseline="0" dirty="0">
                <a:solidFill>
                  <a:srgbClr val="555555"/>
                </a:solidFill>
                <a:latin typeface="Arial"/>
              </a:rPr>
              <a:t>g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tha</a:t>
            </a:r>
            <a:r>
              <a:rPr lang="fr-FR" sz="2027" b="0" i="0" spc="509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you </a:t>
            </a:r>
          </a:p>
          <a:p>
            <a:pPr marL="0">
              <a:lnSpc>
                <a:spcPts val="2401"/>
              </a:lnSpc>
            </a:pP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want to remember ... just in case you may need to sum </a:t>
            </a:r>
          </a:p>
          <a:p>
            <a:pPr marL="0">
              <a:lnSpc>
                <a:spcPts val="2405"/>
              </a:lnSpc>
            </a:pP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everythin</a:t>
            </a:r>
            <a:r>
              <a:rPr lang="fr-FR" sz="2027" b="0" i="0" spc="514" baseline="0" dirty="0">
                <a:solidFill>
                  <a:srgbClr val="555555"/>
                </a:solidFill>
                <a:latin typeface="Arial"/>
              </a:rPr>
              <a:t>g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u</a:t>
            </a:r>
            <a:r>
              <a:rPr lang="fr-FR" sz="2027" b="0" i="0" spc="508" baseline="0" dirty="0">
                <a:solidFill>
                  <a:srgbClr val="555555"/>
                </a:solidFill>
                <a:latin typeface="Arial"/>
              </a:rPr>
              <a:t>p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i</a:t>
            </a:r>
            <a:r>
              <a:rPr lang="fr-FR" sz="2027" b="0" i="0" spc="532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th</a:t>
            </a:r>
            <a:r>
              <a:rPr lang="fr-FR" sz="2027" b="0" i="0" spc="527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end!</a:t>
            </a:r>
          </a:p>
        </p:txBody>
      </p:sp>
      <p:sp>
        <p:nvSpPr>
          <p:cNvPr id="695" name="Rectangle 695"/>
          <p:cNvSpPr/>
          <p:nvPr/>
        </p:nvSpPr>
        <p:spPr>
          <a:xfrm>
            <a:off x="1037589" y="4293614"/>
            <a:ext cx="6356429" cy="9551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Instruction</a:t>
            </a:r>
            <a:r>
              <a:rPr lang="fr-FR" sz="2027" b="0" i="0" spc="458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fro</a:t>
            </a:r>
            <a:r>
              <a:rPr lang="fr-FR" sz="2027" b="0" i="0" spc="493" baseline="0" dirty="0">
                <a:solidFill>
                  <a:srgbClr val="555555"/>
                </a:solidFill>
                <a:latin typeface="Arial"/>
              </a:rPr>
              <a:t>m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interviewer</a:t>
            </a:r>
            <a:r>
              <a:rPr lang="fr-FR" sz="2027" b="0" i="0" spc="493" baseline="0" dirty="0">
                <a:solidFill>
                  <a:srgbClr val="555555"/>
                </a:solidFill>
                <a:latin typeface="Arial"/>
              </a:rPr>
              <a:t>,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brie</a:t>
            </a:r>
            <a:r>
              <a:rPr lang="fr-FR" sz="2027" b="0" i="0" spc="473" baseline="0" dirty="0">
                <a:solidFill>
                  <a:srgbClr val="555555"/>
                </a:solidFill>
                <a:latin typeface="Arial"/>
              </a:rPr>
              <a:t>f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2027" b="0" i="0" spc="503" baseline="0" dirty="0">
                <a:solidFill>
                  <a:srgbClr val="555555"/>
                </a:solidFill>
                <a:latin typeface="Arial"/>
              </a:rPr>
              <a:t>f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th</a:t>
            </a:r>
            <a:r>
              <a:rPr lang="fr-FR" sz="2027" b="0" i="0" spc="528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case</a:t>
            </a:r>
          </a:p>
          <a:p>
            <a:pPr marL="0">
              <a:lnSpc>
                <a:spcPts val="2405"/>
              </a:lnSpc>
            </a:pP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Ou</a:t>
            </a:r>
            <a:r>
              <a:rPr lang="fr-FR" sz="2027" b="0" i="0" spc="474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roadma</a:t>
            </a:r>
            <a:r>
              <a:rPr lang="fr-FR" sz="2027" b="0" i="0" spc="531" baseline="0" dirty="0">
                <a:solidFill>
                  <a:srgbClr val="555555"/>
                </a:solidFill>
                <a:latin typeface="Arial"/>
              </a:rPr>
              <a:t>p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fo</a:t>
            </a:r>
            <a:r>
              <a:rPr lang="fr-FR" sz="2027" b="0" i="0" spc="534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crackin</a:t>
            </a:r>
            <a:r>
              <a:rPr lang="fr-FR" sz="2027" b="0" i="0" spc="449" baseline="0" dirty="0">
                <a:solidFill>
                  <a:srgbClr val="555555"/>
                </a:solidFill>
                <a:latin typeface="Arial"/>
              </a:rPr>
              <a:t>g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th</a:t>
            </a:r>
            <a:r>
              <a:rPr lang="fr-FR" sz="2027" b="0" i="0" spc="527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cas</a:t>
            </a:r>
            <a:r>
              <a:rPr lang="fr-FR" sz="2027" b="0" i="0" spc="476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(in cas</a:t>
            </a:r>
            <a:r>
              <a:rPr lang="fr-FR" sz="2027" b="0" i="0" spc="464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yo</a:t>
            </a:r>
            <a:r>
              <a:rPr lang="fr-FR" sz="2027" b="0" i="0" spc="535" baseline="0" dirty="0">
                <a:solidFill>
                  <a:srgbClr val="555555"/>
                </a:solidFill>
                <a:latin typeface="Arial"/>
              </a:rPr>
              <a:t>u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ge</a:t>
            </a:r>
            <a:r>
              <a:rPr lang="fr-FR" sz="2027" b="0" i="0" spc="489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lost) </a:t>
            </a:r>
          </a:p>
          <a:p>
            <a:pPr marL="0">
              <a:lnSpc>
                <a:spcPts val="2403"/>
              </a:lnSpc>
            </a:pP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Importan</a:t>
            </a:r>
            <a:r>
              <a:rPr lang="fr-FR" sz="2027" b="0" i="0" spc="473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output</a:t>
            </a:r>
            <a:r>
              <a:rPr lang="fr-FR" sz="2027" b="0" i="0" spc="506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fro</a:t>
            </a:r>
            <a:r>
              <a:rPr lang="fr-FR" sz="2027" b="0" i="0" spc="493" baseline="0" dirty="0">
                <a:solidFill>
                  <a:srgbClr val="555555"/>
                </a:solidFill>
                <a:latin typeface="Arial"/>
              </a:rPr>
              <a:t>m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analysi</a:t>
            </a:r>
            <a:r>
              <a:rPr lang="fr-FR" sz="2027" b="0" i="0" spc="536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2027" b="0" i="0" spc="512" baseline="0" dirty="0">
                <a:solidFill>
                  <a:srgbClr val="555555"/>
                </a:solidFill>
                <a:latin typeface="Arial"/>
              </a:rPr>
              <a:t>/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calculations</a:t>
            </a:r>
          </a:p>
        </p:txBody>
      </p:sp>
      <p:sp>
        <p:nvSpPr>
          <p:cNvPr id="696" name="Rectangle 696"/>
          <p:cNvSpPr/>
          <p:nvPr/>
        </p:nvSpPr>
        <p:spPr>
          <a:xfrm>
            <a:off x="633412" y="5676644"/>
            <a:ext cx="6115003" cy="64995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Us</a:t>
            </a:r>
            <a:r>
              <a:rPr lang="fr-FR" sz="2027" b="0" i="0" spc="507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2027" b="0" i="0" spc="519" baseline="0" dirty="0">
                <a:solidFill>
                  <a:srgbClr val="555555"/>
                </a:solidFill>
                <a:latin typeface="Arial"/>
              </a:rPr>
              <a:t>a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separat</a:t>
            </a:r>
            <a:r>
              <a:rPr lang="fr-FR" sz="2027" b="0" i="0" spc="474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sheet</a:t>
            </a:r>
            <a:r>
              <a:rPr lang="fr-FR" sz="2027" b="0" i="0" spc="517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2027" b="0" i="0" spc="514" baseline="0" dirty="0">
                <a:solidFill>
                  <a:srgbClr val="555555"/>
                </a:solidFill>
                <a:latin typeface="Arial"/>
              </a:rPr>
              <a:t>f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pape</a:t>
            </a:r>
            <a:r>
              <a:rPr lang="fr-FR" sz="2027" b="0" i="0" spc="533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2027" b="0" i="0" spc="541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d</a:t>
            </a:r>
            <a:r>
              <a:rPr lang="fr-FR" sz="2027" b="0" i="0" spc="510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th</a:t>
            </a:r>
            <a:r>
              <a:rPr lang="fr-FR" sz="2027" b="0" i="0" spc="527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calculations, </a:t>
            </a:r>
          </a:p>
          <a:p>
            <a:pPr marL="0">
              <a:lnSpc>
                <a:spcPts val="2405"/>
              </a:lnSpc>
            </a:pP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bu</a:t>
            </a:r>
            <a:r>
              <a:rPr lang="fr-FR" sz="2027" b="0" i="0" spc="483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remembe</a:t>
            </a:r>
            <a:r>
              <a:rPr lang="fr-FR" sz="2027" b="0" i="0" spc="445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2027" b="0" i="0" spc="556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2027" b="0" i="0" spc="0" baseline="0" dirty="0">
                <a:solidFill>
                  <a:srgbClr val="3660A1"/>
                </a:solidFill>
                <a:latin typeface="Arial"/>
              </a:rPr>
              <a:t>writ</a:t>
            </a:r>
            <a:r>
              <a:rPr lang="fr-FR" sz="2027" b="0" i="0" spc="476" baseline="0" dirty="0">
                <a:solidFill>
                  <a:srgbClr val="3660A1"/>
                </a:solidFill>
                <a:latin typeface="Arial"/>
              </a:rPr>
              <a:t>e</a:t>
            </a:r>
            <a:r>
              <a:rPr lang="fr-FR" sz="2027" b="0" i="0" spc="0" baseline="0" dirty="0">
                <a:solidFill>
                  <a:srgbClr val="3660A1"/>
                </a:solidFill>
                <a:latin typeface="Arial"/>
              </a:rPr>
              <a:t>th</a:t>
            </a:r>
            <a:r>
              <a:rPr lang="fr-FR" sz="2027" b="0" i="0" spc="527" baseline="0" dirty="0">
                <a:solidFill>
                  <a:srgbClr val="3660A1"/>
                </a:solidFill>
                <a:latin typeface="Arial"/>
              </a:rPr>
              <a:t>e</a:t>
            </a:r>
            <a:r>
              <a:rPr lang="fr-FR" sz="2027" b="0" i="0" spc="0" baseline="0" dirty="0">
                <a:solidFill>
                  <a:srgbClr val="3660A1"/>
                </a:solidFill>
                <a:latin typeface="Arial"/>
              </a:rPr>
              <a:t>outpu</a:t>
            </a:r>
            <a:r>
              <a:rPr lang="fr-FR" sz="2027" b="0" i="0" spc="473" baseline="0" dirty="0">
                <a:solidFill>
                  <a:srgbClr val="3660A1"/>
                </a:solidFill>
                <a:latin typeface="Arial"/>
              </a:rPr>
              <a:t>t</a:t>
            </a:r>
            <a:r>
              <a:rPr lang="fr-FR" sz="2027" b="0" i="0" spc="0" baseline="0" dirty="0">
                <a:solidFill>
                  <a:srgbClr val="3660A1"/>
                </a:solidFill>
                <a:latin typeface="Arial"/>
              </a:rPr>
              <a:t>somewher</a:t>
            </a:r>
            <a:r>
              <a:rPr lang="fr-FR" sz="2027" b="0" i="0" spc="476" baseline="0" dirty="0">
                <a:solidFill>
                  <a:srgbClr val="3660A1"/>
                </a:solidFill>
                <a:latin typeface="Arial"/>
              </a:rPr>
              <a:t>e</a:t>
            </a:r>
            <a:r>
              <a:rPr lang="fr-FR" sz="2027" b="0" i="0" spc="0" baseline="0" dirty="0">
                <a:solidFill>
                  <a:srgbClr val="3660A1"/>
                </a:solidFill>
                <a:latin typeface="Arial"/>
              </a:rPr>
              <a:t>else!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7" name="Freeform 697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698" name="Picture 698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572000" cy="6858000"/>
          </a:xfrm>
          <a:prstGeom prst="rect">
            <a:avLst/>
          </a:prstGeom>
          <a:noFill/>
        </p:spPr>
      </p:pic>
      <p:sp>
        <p:nvSpPr>
          <p:cNvPr id="699" name="Freeform 699"/>
          <p:cNvSpPr/>
          <p:nvPr/>
        </p:nvSpPr>
        <p:spPr>
          <a:xfrm>
            <a:off x="647700" y="1571614"/>
            <a:ext cx="1295400" cy="56908"/>
          </a:xfrm>
          <a:custGeom>
            <a:avLst/>
            <a:gdLst/>
            <a:ahLst/>
            <a:cxnLst/>
            <a:rect l="0" t="0" r="0" b="0"/>
            <a:pathLst>
              <a:path w="1295400" h="56908">
                <a:moveTo>
                  <a:pt x="0" y="56908"/>
                </a:moveTo>
                <a:lnTo>
                  <a:pt x="1295400" y="56908"/>
                </a:lnTo>
                <a:lnTo>
                  <a:pt x="1295400" y="0"/>
                </a:lnTo>
                <a:lnTo>
                  <a:pt x="0" y="0"/>
                </a:lnTo>
                <a:lnTo>
                  <a:pt x="0" y="56908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00" name="Freeform 700"/>
          <p:cNvSpPr/>
          <p:nvPr/>
        </p:nvSpPr>
        <p:spPr>
          <a:xfrm>
            <a:off x="652462" y="1576440"/>
            <a:ext cx="1295400" cy="56907"/>
          </a:xfrm>
          <a:custGeom>
            <a:avLst/>
            <a:gdLst/>
            <a:ahLst/>
            <a:cxnLst/>
            <a:rect l="0" t="0" r="0" b="0"/>
            <a:pathLst>
              <a:path w="1295400" h="56907">
                <a:moveTo>
                  <a:pt x="0" y="56907"/>
                </a:moveTo>
                <a:lnTo>
                  <a:pt x="1295400" y="56907"/>
                </a:lnTo>
                <a:lnTo>
                  <a:pt x="1295400" y="0"/>
                </a:lnTo>
                <a:lnTo>
                  <a:pt x="0" y="0"/>
                </a:lnTo>
                <a:lnTo>
                  <a:pt x="0" y="56907"/>
                </a:lnTo>
                <a:close/>
              </a:path>
            </a:pathLst>
          </a:custGeom>
          <a:noFill/>
          <a:ln w="10666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01" name="Freeform 701"/>
          <p:cNvSpPr/>
          <p:nvPr/>
        </p:nvSpPr>
        <p:spPr>
          <a:xfrm>
            <a:off x="2943225" y="2524125"/>
            <a:ext cx="2720721" cy="304800"/>
          </a:xfrm>
          <a:custGeom>
            <a:avLst/>
            <a:gdLst/>
            <a:ahLst/>
            <a:cxnLst/>
            <a:rect l="0" t="0" r="0" b="0"/>
            <a:pathLst>
              <a:path w="2720721" h="304800">
                <a:moveTo>
                  <a:pt x="492378" y="0"/>
                </a:moveTo>
                <a:lnTo>
                  <a:pt x="229235" y="0"/>
                </a:lnTo>
                <a:lnTo>
                  <a:pt x="203961" y="635"/>
                </a:lnTo>
                <a:lnTo>
                  <a:pt x="154685" y="6223"/>
                </a:lnTo>
                <a:lnTo>
                  <a:pt x="90423" y="21972"/>
                </a:lnTo>
                <a:lnTo>
                  <a:pt x="54355" y="44197"/>
                </a:lnTo>
                <a:lnTo>
                  <a:pt x="25780" y="75947"/>
                </a:lnTo>
                <a:lnTo>
                  <a:pt x="6857" y="115062"/>
                </a:lnTo>
                <a:lnTo>
                  <a:pt x="0" y="159893"/>
                </a:lnTo>
                <a:lnTo>
                  <a:pt x="7747" y="204852"/>
                </a:lnTo>
                <a:lnTo>
                  <a:pt x="29082" y="244603"/>
                </a:lnTo>
                <a:lnTo>
                  <a:pt x="61722" y="276225"/>
                </a:lnTo>
                <a:lnTo>
                  <a:pt x="102870" y="297180"/>
                </a:lnTo>
                <a:lnTo>
                  <a:pt x="150367" y="304800"/>
                </a:lnTo>
                <a:lnTo>
                  <a:pt x="2630804" y="304800"/>
                </a:lnTo>
                <a:lnTo>
                  <a:pt x="2678303" y="297180"/>
                </a:lnTo>
                <a:lnTo>
                  <a:pt x="2719451" y="276225"/>
                </a:lnTo>
                <a:lnTo>
                  <a:pt x="2720721" y="275083"/>
                </a:lnTo>
                <a:lnTo>
                  <a:pt x="150367" y="275083"/>
                </a:lnTo>
                <a:lnTo>
                  <a:pt x="123570" y="272289"/>
                </a:lnTo>
                <a:lnTo>
                  <a:pt x="99567" y="264415"/>
                </a:lnTo>
                <a:lnTo>
                  <a:pt x="78485" y="251587"/>
                </a:lnTo>
                <a:lnTo>
                  <a:pt x="60070" y="234189"/>
                </a:lnTo>
                <a:lnTo>
                  <a:pt x="1075309" y="234189"/>
                </a:lnTo>
                <a:lnTo>
                  <a:pt x="1075435" y="233299"/>
                </a:lnTo>
                <a:lnTo>
                  <a:pt x="1076833" y="191390"/>
                </a:lnTo>
                <a:lnTo>
                  <a:pt x="1075435" y="149606"/>
                </a:lnTo>
                <a:lnTo>
                  <a:pt x="1071117" y="107823"/>
                </a:lnTo>
                <a:lnTo>
                  <a:pt x="1071753" y="93854"/>
                </a:lnTo>
                <a:lnTo>
                  <a:pt x="1073530" y="80391"/>
                </a:lnTo>
                <a:lnTo>
                  <a:pt x="1075816" y="67565"/>
                </a:lnTo>
                <a:lnTo>
                  <a:pt x="1078610" y="55754"/>
                </a:lnTo>
                <a:lnTo>
                  <a:pt x="1078610" y="48260"/>
                </a:lnTo>
                <a:lnTo>
                  <a:pt x="1074801" y="44578"/>
                </a:lnTo>
                <a:lnTo>
                  <a:pt x="1071117" y="40895"/>
                </a:lnTo>
                <a:lnTo>
                  <a:pt x="2720466" y="40895"/>
                </a:lnTo>
                <a:lnTo>
                  <a:pt x="2719451" y="39879"/>
                </a:lnTo>
                <a:lnTo>
                  <a:pt x="2678303" y="18797"/>
                </a:lnTo>
                <a:lnTo>
                  <a:pt x="2630804" y="11177"/>
                </a:lnTo>
                <a:lnTo>
                  <a:pt x="635127" y="11177"/>
                </a:lnTo>
                <a:lnTo>
                  <a:pt x="492378" y="0"/>
                </a:lnTo>
                <a:close/>
                <a:moveTo>
                  <a:pt x="1390650" y="4333875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02" name="Freeform 702"/>
          <p:cNvSpPr/>
          <p:nvPr/>
        </p:nvSpPr>
        <p:spPr>
          <a:xfrm>
            <a:off x="3003295" y="2758314"/>
            <a:ext cx="1015239" cy="40894"/>
          </a:xfrm>
          <a:custGeom>
            <a:avLst/>
            <a:gdLst/>
            <a:ahLst/>
            <a:cxnLst/>
            <a:rect l="0" t="0" r="0" b="0"/>
            <a:pathLst>
              <a:path w="1015239" h="40894">
                <a:moveTo>
                  <a:pt x="1015239" y="0"/>
                </a:moveTo>
                <a:lnTo>
                  <a:pt x="0" y="0"/>
                </a:lnTo>
                <a:lnTo>
                  <a:pt x="18924" y="14732"/>
                </a:lnTo>
                <a:lnTo>
                  <a:pt x="40894" y="26034"/>
                </a:lnTo>
                <a:lnTo>
                  <a:pt x="65025" y="34544"/>
                </a:lnTo>
                <a:lnTo>
                  <a:pt x="90297" y="40894"/>
                </a:lnTo>
                <a:lnTo>
                  <a:pt x="1011047" y="40894"/>
                </a:lnTo>
                <a:lnTo>
                  <a:pt x="1015239" y="0"/>
                </a:lnTo>
                <a:close/>
                <a:moveTo>
                  <a:pt x="1096391" y="4099686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03" name="Freeform 703"/>
          <p:cNvSpPr/>
          <p:nvPr/>
        </p:nvSpPr>
        <p:spPr>
          <a:xfrm>
            <a:off x="4070350" y="2565020"/>
            <a:ext cx="158115" cy="234188"/>
          </a:xfrm>
          <a:custGeom>
            <a:avLst/>
            <a:gdLst/>
            <a:ahLst/>
            <a:cxnLst/>
            <a:rect l="0" t="0" r="0" b="0"/>
            <a:pathLst>
              <a:path w="158115" h="234188">
                <a:moveTo>
                  <a:pt x="158115" y="0"/>
                </a:moveTo>
                <a:lnTo>
                  <a:pt x="7873" y="0"/>
                </a:lnTo>
                <a:lnTo>
                  <a:pt x="5715" y="54102"/>
                </a:lnTo>
                <a:lnTo>
                  <a:pt x="1778" y="108711"/>
                </a:lnTo>
                <a:lnTo>
                  <a:pt x="1651" y="111505"/>
                </a:lnTo>
                <a:lnTo>
                  <a:pt x="0" y="165227"/>
                </a:lnTo>
                <a:lnTo>
                  <a:pt x="4190" y="219202"/>
                </a:lnTo>
                <a:lnTo>
                  <a:pt x="4190" y="230504"/>
                </a:lnTo>
                <a:lnTo>
                  <a:pt x="7873" y="234188"/>
                </a:lnTo>
                <a:lnTo>
                  <a:pt x="139446" y="234188"/>
                </a:lnTo>
                <a:lnTo>
                  <a:pt x="139446" y="230504"/>
                </a:lnTo>
                <a:lnTo>
                  <a:pt x="141223" y="223011"/>
                </a:lnTo>
                <a:lnTo>
                  <a:pt x="41655" y="223011"/>
                </a:lnTo>
                <a:lnTo>
                  <a:pt x="30479" y="208152"/>
                </a:lnTo>
                <a:lnTo>
                  <a:pt x="27559" y="181609"/>
                </a:lnTo>
                <a:lnTo>
                  <a:pt x="28955" y="154559"/>
                </a:lnTo>
                <a:lnTo>
                  <a:pt x="30479" y="137540"/>
                </a:lnTo>
                <a:lnTo>
                  <a:pt x="32639" y="124205"/>
                </a:lnTo>
                <a:lnTo>
                  <a:pt x="33782" y="111505"/>
                </a:lnTo>
                <a:lnTo>
                  <a:pt x="34163" y="98805"/>
                </a:lnTo>
                <a:lnTo>
                  <a:pt x="34290" y="85471"/>
                </a:lnTo>
                <a:lnTo>
                  <a:pt x="154685" y="85471"/>
                </a:lnTo>
                <a:lnTo>
                  <a:pt x="155066" y="83565"/>
                </a:lnTo>
                <a:lnTo>
                  <a:pt x="157226" y="55752"/>
                </a:lnTo>
                <a:lnTo>
                  <a:pt x="157988" y="31115"/>
                </a:lnTo>
                <a:lnTo>
                  <a:pt x="158115" y="26670"/>
                </a:lnTo>
                <a:lnTo>
                  <a:pt x="158115" y="0"/>
                </a:lnTo>
                <a:close/>
                <a:moveTo>
                  <a:pt x="222630" y="4292980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04" name="Freeform 704"/>
          <p:cNvSpPr/>
          <p:nvPr/>
        </p:nvSpPr>
        <p:spPr>
          <a:xfrm>
            <a:off x="4273677" y="2565020"/>
            <a:ext cx="78867" cy="234188"/>
          </a:xfrm>
          <a:custGeom>
            <a:avLst/>
            <a:gdLst/>
            <a:ahLst/>
            <a:cxnLst/>
            <a:rect l="0" t="0" r="0" b="0"/>
            <a:pathLst>
              <a:path w="78867" h="234188">
                <a:moveTo>
                  <a:pt x="75183" y="0"/>
                </a:moveTo>
                <a:lnTo>
                  <a:pt x="3809" y="0"/>
                </a:lnTo>
                <a:lnTo>
                  <a:pt x="3428" y="46863"/>
                </a:lnTo>
                <a:lnTo>
                  <a:pt x="2413" y="93726"/>
                </a:lnTo>
                <a:lnTo>
                  <a:pt x="1396" y="140461"/>
                </a:lnTo>
                <a:lnTo>
                  <a:pt x="381" y="187325"/>
                </a:lnTo>
                <a:lnTo>
                  <a:pt x="0" y="234188"/>
                </a:lnTo>
                <a:lnTo>
                  <a:pt x="78867" y="234188"/>
                </a:lnTo>
                <a:lnTo>
                  <a:pt x="78867" y="230504"/>
                </a:lnTo>
                <a:lnTo>
                  <a:pt x="75183" y="226695"/>
                </a:lnTo>
                <a:lnTo>
                  <a:pt x="70865" y="219202"/>
                </a:lnTo>
                <a:lnTo>
                  <a:pt x="68580" y="208660"/>
                </a:lnTo>
                <a:lnTo>
                  <a:pt x="67690" y="195834"/>
                </a:lnTo>
                <a:lnTo>
                  <a:pt x="67690" y="181609"/>
                </a:lnTo>
                <a:lnTo>
                  <a:pt x="70993" y="132207"/>
                </a:lnTo>
                <a:lnTo>
                  <a:pt x="74168" y="78485"/>
                </a:lnTo>
                <a:lnTo>
                  <a:pt x="76073" y="31241"/>
                </a:lnTo>
                <a:lnTo>
                  <a:pt x="75183" y="0"/>
                </a:lnTo>
                <a:close/>
                <a:moveTo>
                  <a:pt x="19303" y="4292980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05" name="Freeform 705"/>
          <p:cNvSpPr/>
          <p:nvPr/>
        </p:nvSpPr>
        <p:spPr>
          <a:xfrm>
            <a:off x="5574029" y="2565020"/>
            <a:ext cx="150368" cy="234188"/>
          </a:xfrm>
          <a:custGeom>
            <a:avLst/>
            <a:gdLst/>
            <a:ahLst/>
            <a:cxnLst/>
            <a:rect l="0" t="0" r="0" b="0"/>
            <a:pathLst>
              <a:path w="150368" h="234188">
                <a:moveTo>
                  <a:pt x="89662" y="0"/>
                </a:moveTo>
                <a:lnTo>
                  <a:pt x="0" y="0"/>
                </a:lnTo>
                <a:lnTo>
                  <a:pt x="47372" y="9144"/>
                </a:lnTo>
                <a:lnTo>
                  <a:pt x="85472" y="34416"/>
                </a:lnTo>
                <a:lnTo>
                  <a:pt x="110999" y="72135"/>
                </a:lnTo>
                <a:lnTo>
                  <a:pt x="120269" y="118998"/>
                </a:lnTo>
                <a:lnTo>
                  <a:pt x="110999" y="163576"/>
                </a:lnTo>
                <a:lnTo>
                  <a:pt x="85472" y="200278"/>
                </a:lnTo>
                <a:lnTo>
                  <a:pt x="47372" y="225044"/>
                </a:lnTo>
                <a:lnTo>
                  <a:pt x="0" y="234188"/>
                </a:lnTo>
                <a:lnTo>
                  <a:pt x="89917" y="234188"/>
                </a:lnTo>
                <a:lnTo>
                  <a:pt x="121286" y="203708"/>
                </a:lnTo>
                <a:lnTo>
                  <a:pt x="142622" y="163957"/>
                </a:lnTo>
                <a:lnTo>
                  <a:pt x="150368" y="118998"/>
                </a:lnTo>
                <a:lnTo>
                  <a:pt x="142622" y="72135"/>
                </a:lnTo>
                <a:lnTo>
                  <a:pt x="121286" y="31241"/>
                </a:lnTo>
                <a:lnTo>
                  <a:pt x="89662" y="0"/>
                </a:lnTo>
                <a:close/>
                <a:moveTo>
                  <a:pt x="-1281049" y="4292980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06" name="Freeform 706"/>
          <p:cNvSpPr/>
          <p:nvPr/>
        </p:nvSpPr>
        <p:spPr>
          <a:xfrm>
            <a:off x="4104640" y="2650491"/>
            <a:ext cx="120395" cy="137540"/>
          </a:xfrm>
          <a:custGeom>
            <a:avLst/>
            <a:gdLst/>
            <a:ahLst/>
            <a:cxnLst/>
            <a:rect l="0" t="0" r="0" b="0"/>
            <a:pathLst>
              <a:path w="120395" h="137540">
                <a:moveTo>
                  <a:pt x="120395" y="0"/>
                </a:moveTo>
                <a:lnTo>
                  <a:pt x="0" y="0"/>
                </a:lnTo>
                <a:lnTo>
                  <a:pt x="507" y="10540"/>
                </a:lnTo>
                <a:lnTo>
                  <a:pt x="1269" y="19938"/>
                </a:lnTo>
                <a:lnTo>
                  <a:pt x="1524" y="28701"/>
                </a:lnTo>
                <a:lnTo>
                  <a:pt x="0" y="37211"/>
                </a:lnTo>
                <a:lnTo>
                  <a:pt x="0" y="54990"/>
                </a:lnTo>
                <a:lnTo>
                  <a:pt x="126" y="65024"/>
                </a:lnTo>
                <a:lnTo>
                  <a:pt x="888" y="87375"/>
                </a:lnTo>
                <a:lnTo>
                  <a:pt x="3048" y="112394"/>
                </a:lnTo>
                <a:lnTo>
                  <a:pt x="7365" y="137540"/>
                </a:lnTo>
                <a:lnTo>
                  <a:pt x="106933" y="137540"/>
                </a:lnTo>
                <a:lnTo>
                  <a:pt x="114935" y="88773"/>
                </a:lnTo>
                <a:lnTo>
                  <a:pt x="116331" y="38734"/>
                </a:lnTo>
                <a:lnTo>
                  <a:pt x="116458" y="26034"/>
                </a:lnTo>
                <a:lnTo>
                  <a:pt x="120395" y="0"/>
                </a:lnTo>
                <a:close/>
                <a:moveTo>
                  <a:pt x="102869" y="4207509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07" name="Freeform 707"/>
          <p:cNvSpPr/>
          <p:nvPr/>
        </p:nvSpPr>
        <p:spPr>
          <a:xfrm>
            <a:off x="2948051" y="2528952"/>
            <a:ext cx="2781045" cy="304800"/>
          </a:xfrm>
          <a:custGeom>
            <a:avLst/>
            <a:gdLst/>
            <a:ahLst/>
            <a:cxnLst/>
            <a:rect l="0" t="0" r="0" b="0"/>
            <a:pathLst>
              <a:path w="2781045" h="304800">
                <a:moveTo>
                  <a:pt x="2630804" y="11048"/>
                </a:moveTo>
                <a:lnTo>
                  <a:pt x="1477009" y="11048"/>
                </a:lnTo>
                <a:lnTo>
                  <a:pt x="884554" y="11048"/>
                </a:lnTo>
                <a:lnTo>
                  <a:pt x="666241" y="11048"/>
                </a:lnTo>
                <a:lnTo>
                  <a:pt x="635127" y="11048"/>
                </a:lnTo>
                <a:lnTo>
                  <a:pt x="598551" y="8254"/>
                </a:lnTo>
                <a:lnTo>
                  <a:pt x="562356" y="5460"/>
                </a:lnTo>
                <a:lnTo>
                  <a:pt x="526795" y="2666"/>
                </a:lnTo>
                <a:lnTo>
                  <a:pt x="492252" y="0"/>
                </a:lnTo>
                <a:lnTo>
                  <a:pt x="438531" y="0"/>
                </a:lnTo>
                <a:lnTo>
                  <a:pt x="385571" y="0"/>
                </a:lnTo>
                <a:lnTo>
                  <a:pt x="333120" y="0"/>
                </a:lnTo>
                <a:lnTo>
                  <a:pt x="281050" y="0"/>
                </a:lnTo>
                <a:lnTo>
                  <a:pt x="229107" y="0"/>
                </a:lnTo>
                <a:lnTo>
                  <a:pt x="203834" y="634"/>
                </a:lnTo>
                <a:lnTo>
                  <a:pt x="154685" y="6222"/>
                </a:lnTo>
                <a:lnTo>
                  <a:pt x="90424" y="21970"/>
                </a:lnTo>
                <a:lnTo>
                  <a:pt x="54356" y="44195"/>
                </a:lnTo>
                <a:lnTo>
                  <a:pt x="25653" y="75819"/>
                </a:lnTo>
                <a:lnTo>
                  <a:pt x="6731" y="115062"/>
                </a:lnTo>
                <a:lnTo>
                  <a:pt x="0" y="159765"/>
                </a:lnTo>
                <a:lnTo>
                  <a:pt x="7619" y="204851"/>
                </a:lnTo>
                <a:lnTo>
                  <a:pt x="29082" y="244475"/>
                </a:lnTo>
                <a:lnTo>
                  <a:pt x="61594" y="276225"/>
                </a:lnTo>
                <a:lnTo>
                  <a:pt x="102869" y="297179"/>
                </a:lnTo>
                <a:lnTo>
                  <a:pt x="150241" y="304800"/>
                </a:lnTo>
                <a:lnTo>
                  <a:pt x="1584325" y="304800"/>
                </a:lnTo>
                <a:lnTo>
                  <a:pt x="2320670" y="304800"/>
                </a:lnTo>
                <a:lnTo>
                  <a:pt x="2592070" y="304800"/>
                </a:lnTo>
                <a:lnTo>
                  <a:pt x="2630804" y="304800"/>
                </a:lnTo>
                <a:lnTo>
                  <a:pt x="2678176" y="297179"/>
                </a:lnTo>
                <a:lnTo>
                  <a:pt x="2719451" y="276225"/>
                </a:lnTo>
                <a:lnTo>
                  <a:pt x="2751963" y="244475"/>
                </a:lnTo>
                <a:lnTo>
                  <a:pt x="2773426" y="204851"/>
                </a:lnTo>
                <a:lnTo>
                  <a:pt x="2781045" y="159765"/>
                </a:lnTo>
                <a:lnTo>
                  <a:pt x="2773426" y="112902"/>
                </a:lnTo>
                <a:lnTo>
                  <a:pt x="2751963" y="72135"/>
                </a:lnTo>
                <a:lnTo>
                  <a:pt x="2719451" y="39877"/>
                </a:lnTo>
                <a:lnTo>
                  <a:pt x="2678176" y="18669"/>
                </a:lnTo>
                <a:lnTo>
                  <a:pt x="2630804" y="11048"/>
                </a:lnTo>
                <a:close/>
                <a:moveTo>
                  <a:pt x="1369949" y="4329048"/>
                </a:moveTo>
              </a:path>
            </a:pathLst>
          </a:custGeom>
          <a:noFill/>
          <a:ln w="9144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08" name="Freeform 708"/>
          <p:cNvSpPr/>
          <p:nvPr/>
        </p:nvSpPr>
        <p:spPr>
          <a:xfrm>
            <a:off x="3008122" y="2763012"/>
            <a:ext cx="90170" cy="40894"/>
          </a:xfrm>
          <a:custGeom>
            <a:avLst/>
            <a:gdLst/>
            <a:ahLst/>
            <a:cxnLst/>
            <a:rect l="0" t="0" r="0" b="0"/>
            <a:pathLst>
              <a:path w="90170" h="40894">
                <a:moveTo>
                  <a:pt x="90170" y="40894"/>
                </a:moveTo>
                <a:lnTo>
                  <a:pt x="63373" y="38228"/>
                </a:lnTo>
                <a:lnTo>
                  <a:pt x="39497" y="30227"/>
                </a:lnTo>
                <a:lnTo>
                  <a:pt x="18288" y="17399"/>
                </a:lnTo>
                <a:lnTo>
                  <a:pt x="0" y="0"/>
                </a:lnTo>
                <a:lnTo>
                  <a:pt x="18795" y="14860"/>
                </a:lnTo>
                <a:lnTo>
                  <a:pt x="40894" y="26035"/>
                </a:lnTo>
                <a:lnTo>
                  <a:pt x="65023" y="34544"/>
                </a:lnTo>
                <a:lnTo>
                  <a:pt x="90170" y="40894"/>
                </a:lnTo>
                <a:close/>
                <a:moveTo>
                  <a:pt x="1045972" y="4094988"/>
                </a:moveTo>
              </a:path>
            </a:pathLst>
          </a:custGeom>
          <a:noFill/>
          <a:ln w="9144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709" name="Picture 709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010025" y="2562225"/>
            <a:ext cx="104775" cy="247650"/>
          </a:xfrm>
          <a:prstGeom prst="rect">
            <a:avLst/>
          </a:prstGeom>
          <a:noFill/>
        </p:spPr>
      </p:pic>
      <p:pic>
        <p:nvPicPr>
          <p:cNvPr id="710" name="Picture 710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00525" y="2562225"/>
            <a:ext cx="85725" cy="247650"/>
          </a:xfrm>
          <a:prstGeom prst="rect">
            <a:avLst/>
          </a:prstGeom>
          <a:noFill/>
        </p:spPr>
      </p:pic>
      <p:sp>
        <p:nvSpPr>
          <p:cNvPr id="711" name="Freeform 711"/>
          <p:cNvSpPr/>
          <p:nvPr/>
        </p:nvSpPr>
        <p:spPr>
          <a:xfrm>
            <a:off x="4348226" y="2567052"/>
            <a:ext cx="1352041" cy="238125"/>
          </a:xfrm>
          <a:custGeom>
            <a:avLst/>
            <a:gdLst/>
            <a:ahLst/>
            <a:cxnLst/>
            <a:rect l="0" t="0" r="0" b="0"/>
            <a:pathLst>
              <a:path w="1352041" h="238125">
                <a:moveTo>
                  <a:pt x="1231772" y="238125"/>
                </a:moveTo>
                <a:lnTo>
                  <a:pt x="526160" y="238125"/>
                </a:lnTo>
                <a:lnTo>
                  <a:pt x="163829" y="238125"/>
                </a:lnTo>
                <a:lnTo>
                  <a:pt x="30352" y="238125"/>
                </a:lnTo>
                <a:lnTo>
                  <a:pt x="11176" y="238125"/>
                </a:lnTo>
                <a:lnTo>
                  <a:pt x="11176" y="234314"/>
                </a:lnTo>
                <a:lnTo>
                  <a:pt x="7493" y="230504"/>
                </a:lnTo>
                <a:lnTo>
                  <a:pt x="3175" y="222884"/>
                </a:lnTo>
                <a:lnTo>
                  <a:pt x="889" y="212089"/>
                </a:lnTo>
                <a:lnTo>
                  <a:pt x="0" y="199135"/>
                </a:lnTo>
                <a:lnTo>
                  <a:pt x="0" y="185165"/>
                </a:lnTo>
                <a:lnTo>
                  <a:pt x="3302" y="134365"/>
                </a:lnTo>
                <a:lnTo>
                  <a:pt x="6603" y="79756"/>
                </a:lnTo>
                <a:lnTo>
                  <a:pt x="8382" y="31495"/>
                </a:lnTo>
                <a:lnTo>
                  <a:pt x="7493" y="0"/>
                </a:lnTo>
                <a:lnTo>
                  <a:pt x="715264" y="0"/>
                </a:lnTo>
                <a:lnTo>
                  <a:pt x="1078738" y="0"/>
                </a:lnTo>
                <a:lnTo>
                  <a:pt x="1212722" y="0"/>
                </a:lnTo>
                <a:lnTo>
                  <a:pt x="1231772" y="0"/>
                </a:lnTo>
                <a:lnTo>
                  <a:pt x="1279144" y="9270"/>
                </a:lnTo>
                <a:lnTo>
                  <a:pt x="1317244" y="34925"/>
                </a:lnTo>
                <a:lnTo>
                  <a:pt x="1342644" y="73278"/>
                </a:lnTo>
                <a:lnTo>
                  <a:pt x="1352041" y="120903"/>
                </a:lnTo>
                <a:lnTo>
                  <a:pt x="1342644" y="166243"/>
                </a:lnTo>
                <a:lnTo>
                  <a:pt x="1317244" y="203581"/>
                </a:lnTo>
                <a:lnTo>
                  <a:pt x="1279144" y="228727"/>
                </a:lnTo>
                <a:lnTo>
                  <a:pt x="1231772" y="238125"/>
                </a:lnTo>
                <a:close/>
                <a:moveTo>
                  <a:pt x="-295403" y="4290948"/>
                </a:moveTo>
              </a:path>
            </a:pathLst>
          </a:custGeom>
          <a:noFill/>
          <a:ln w="9144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12" name="Freeform 712"/>
          <p:cNvSpPr/>
          <p:nvPr/>
        </p:nvSpPr>
        <p:spPr>
          <a:xfrm>
            <a:off x="2962275" y="3019425"/>
            <a:ext cx="178942" cy="295148"/>
          </a:xfrm>
          <a:custGeom>
            <a:avLst/>
            <a:gdLst/>
            <a:ahLst/>
            <a:cxnLst/>
            <a:rect l="0" t="0" r="0" b="0"/>
            <a:pathLst>
              <a:path w="178942" h="295148">
                <a:moveTo>
                  <a:pt x="13335" y="0"/>
                </a:moveTo>
                <a:lnTo>
                  <a:pt x="4064" y="6097"/>
                </a:lnTo>
                <a:lnTo>
                  <a:pt x="0" y="17654"/>
                </a:lnTo>
                <a:lnTo>
                  <a:pt x="4698" y="62739"/>
                </a:lnTo>
                <a:lnTo>
                  <a:pt x="6604" y="108204"/>
                </a:lnTo>
                <a:lnTo>
                  <a:pt x="7239" y="153924"/>
                </a:lnTo>
                <a:lnTo>
                  <a:pt x="8127" y="199517"/>
                </a:lnTo>
                <a:lnTo>
                  <a:pt x="11048" y="244475"/>
                </a:lnTo>
                <a:lnTo>
                  <a:pt x="22098" y="282703"/>
                </a:lnTo>
                <a:lnTo>
                  <a:pt x="107060" y="295148"/>
                </a:lnTo>
                <a:lnTo>
                  <a:pt x="151257" y="291085"/>
                </a:lnTo>
                <a:lnTo>
                  <a:pt x="178816" y="273050"/>
                </a:lnTo>
                <a:lnTo>
                  <a:pt x="178942" y="268733"/>
                </a:lnTo>
                <a:lnTo>
                  <a:pt x="142494" y="268733"/>
                </a:lnTo>
                <a:lnTo>
                  <a:pt x="123825" y="268097"/>
                </a:lnTo>
                <a:lnTo>
                  <a:pt x="119379" y="267843"/>
                </a:lnTo>
                <a:lnTo>
                  <a:pt x="69595" y="267843"/>
                </a:lnTo>
                <a:lnTo>
                  <a:pt x="51435" y="263779"/>
                </a:lnTo>
                <a:lnTo>
                  <a:pt x="40513" y="251968"/>
                </a:lnTo>
                <a:lnTo>
                  <a:pt x="36829" y="229109"/>
                </a:lnTo>
                <a:lnTo>
                  <a:pt x="35941" y="205486"/>
                </a:lnTo>
                <a:lnTo>
                  <a:pt x="36957" y="159131"/>
                </a:lnTo>
                <a:lnTo>
                  <a:pt x="36322" y="122174"/>
                </a:lnTo>
                <a:lnTo>
                  <a:pt x="34544" y="84583"/>
                </a:lnTo>
                <a:lnTo>
                  <a:pt x="32257" y="46991"/>
                </a:lnTo>
                <a:lnTo>
                  <a:pt x="29464" y="10160"/>
                </a:lnTo>
                <a:lnTo>
                  <a:pt x="23367" y="890"/>
                </a:lnTo>
                <a:lnTo>
                  <a:pt x="13335" y="0"/>
                </a:lnTo>
                <a:close/>
                <a:moveTo>
                  <a:pt x="876300" y="3838575"/>
                </a:moveTo>
              </a:path>
            </a:pathLst>
          </a:custGeom>
          <a:solidFill>
            <a:srgbClr val="EBBE20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13" name="Freeform 713"/>
          <p:cNvSpPr/>
          <p:nvPr/>
        </p:nvSpPr>
        <p:spPr>
          <a:xfrm>
            <a:off x="3104769" y="3249168"/>
            <a:ext cx="38226" cy="38990"/>
          </a:xfrm>
          <a:custGeom>
            <a:avLst/>
            <a:gdLst/>
            <a:ahLst/>
            <a:cxnLst/>
            <a:rect l="0" t="0" r="0" b="0"/>
            <a:pathLst>
              <a:path w="38226" h="38990">
                <a:moveTo>
                  <a:pt x="38226" y="0"/>
                </a:moveTo>
                <a:lnTo>
                  <a:pt x="19811" y="7493"/>
                </a:lnTo>
                <a:lnTo>
                  <a:pt x="16129" y="11049"/>
                </a:lnTo>
                <a:lnTo>
                  <a:pt x="16129" y="18542"/>
                </a:lnTo>
                <a:lnTo>
                  <a:pt x="13716" y="34036"/>
                </a:lnTo>
                <a:lnTo>
                  <a:pt x="0" y="38990"/>
                </a:lnTo>
                <a:lnTo>
                  <a:pt x="36448" y="38990"/>
                </a:lnTo>
                <a:lnTo>
                  <a:pt x="38226" y="3684"/>
                </a:lnTo>
                <a:lnTo>
                  <a:pt x="38226" y="0"/>
                </a:lnTo>
                <a:close/>
                <a:moveTo>
                  <a:pt x="504063" y="3608832"/>
                </a:moveTo>
              </a:path>
            </a:pathLst>
          </a:custGeom>
          <a:solidFill>
            <a:srgbClr val="EBBE20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14" name="Freeform 714"/>
          <p:cNvSpPr/>
          <p:nvPr/>
        </p:nvSpPr>
        <p:spPr>
          <a:xfrm>
            <a:off x="3031870" y="3286253"/>
            <a:ext cx="49784" cy="1015"/>
          </a:xfrm>
          <a:custGeom>
            <a:avLst/>
            <a:gdLst/>
            <a:ahLst/>
            <a:cxnLst/>
            <a:rect l="0" t="0" r="0" b="0"/>
            <a:pathLst>
              <a:path w="49784" h="1015">
                <a:moveTo>
                  <a:pt x="37338" y="0"/>
                </a:moveTo>
                <a:lnTo>
                  <a:pt x="20194" y="888"/>
                </a:lnTo>
                <a:lnTo>
                  <a:pt x="0" y="1015"/>
                </a:lnTo>
                <a:lnTo>
                  <a:pt x="49784" y="1015"/>
                </a:lnTo>
                <a:lnTo>
                  <a:pt x="37338" y="0"/>
                </a:lnTo>
                <a:close/>
                <a:moveTo>
                  <a:pt x="539877" y="3571747"/>
                </a:moveTo>
              </a:path>
            </a:pathLst>
          </a:custGeom>
          <a:solidFill>
            <a:srgbClr val="EBBE20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15" name="Freeform 715"/>
          <p:cNvSpPr/>
          <p:nvPr/>
        </p:nvSpPr>
        <p:spPr>
          <a:xfrm>
            <a:off x="2967101" y="3024252"/>
            <a:ext cx="180721" cy="295020"/>
          </a:xfrm>
          <a:custGeom>
            <a:avLst/>
            <a:gdLst/>
            <a:ahLst/>
            <a:cxnLst/>
            <a:rect l="0" t="0" r="0" b="0"/>
            <a:pathLst>
              <a:path w="180721" h="295020">
                <a:moveTo>
                  <a:pt x="162178" y="237108"/>
                </a:moveTo>
                <a:lnTo>
                  <a:pt x="158622" y="240791"/>
                </a:lnTo>
                <a:lnTo>
                  <a:pt x="158622" y="244475"/>
                </a:lnTo>
                <a:lnTo>
                  <a:pt x="158622" y="248158"/>
                </a:lnTo>
                <a:lnTo>
                  <a:pt x="156209" y="263652"/>
                </a:lnTo>
                <a:lnTo>
                  <a:pt x="142366" y="268604"/>
                </a:lnTo>
                <a:lnTo>
                  <a:pt x="123825" y="268096"/>
                </a:lnTo>
                <a:lnTo>
                  <a:pt x="106934" y="266827"/>
                </a:lnTo>
                <a:lnTo>
                  <a:pt x="89788" y="267589"/>
                </a:lnTo>
                <a:lnTo>
                  <a:pt x="51434" y="263652"/>
                </a:lnTo>
                <a:lnTo>
                  <a:pt x="36829" y="228981"/>
                </a:lnTo>
                <a:lnTo>
                  <a:pt x="35941" y="205485"/>
                </a:lnTo>
                <a:lnTo>
                  <a:pt x="36449" y="181864"/>
                </a:lnTo>
                <a:lnTo>
                  <a:pt x="36829" y="159003"/>
                </a:lnTo>
                <a:lnTo>
                  <a:pt x="36194" y="122046"/>
                </a:lnTo>
                <a:lnTo>
                  <a:pt x="34544" y="84454"/>
                </a:lnTo>
                <a:lnTo>
                  <a:pt x="32131" y="46989"/>
                </a:lnTo>
                <a:lnTo>
                  <a:pt x="23241" y="889"/>
                </a:lnTo>
                <a:lnTo>
                  <a:pt x="13334" y="0"/>
                </a:lnTo>
                <a:lnTo>
                  <a:pt x="4063" y="5969"/>
                </a:lnTo>
                <a:lnTo>
                  <a:pt x="0" y="17652"/>
                </a:lnTo>
                <a:lnTo>
                  <a:pt x="4699" y="62610"/>
                </a:lnTo>
                <a:lnTo>
                  <a:pt x="6476" y="108203"/>
                </a:lnTo>
                <a:lnTo>
                  <a:pt x="7112" y="153923"/>
                </a:lnTo>
                <a:lnTo>
                  <a:pt x="8128" y="199516"/>
                </a:lnTo>
                <a:lnTo>
                  <a:pt x="11049" y="244475"/>
                </a:lnTo>
                <a:lnTo>
                  <a:pt x="22097" y="282575"/>
                </a:lnTo>
                <a:lnTo>
                  <a:pt x="107060" y="295020"/>
                </a:lnTo>
                <a:lnTo>
                  <a:pt x="151129" y="290957"/>
                </a:lnTo>
                <a:lnTo>
                  <a:pt x="178688" y="273050"/>
                </a:lnTo>
                <a:lnTo>
                  <a:pt x="180721" y="233426"/>
                </a:lnTo>
                <a:lnTo>
                  <a:pt x="180721" y="229615"/>
                </a:lnTo>
                <a:lnTo>
                  <a:pt x="162178" y="237108"/>
                </a:lnTo>
                <a:close/>
                <a:moveTo>
                  <a:pt x="629539" y="3833748"/>
                </a:moveTo>
              </a:path>
            </a:pathLst>
          </a:custGeom>
          <a:noFill/>
          <a:ln w="9144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16" name="Freeform 716"/>
          <p:cNvSpPr/>
          <p:nvPr/>
        </p:nvSpPr>
        <p:spPr>
          <a:xfrm>
            <a:off x="3181350" y="3009900"/>
            <a:ext cx="127508" cy="295148"/>
          </a:xfrm>
          <a:custGeom>
            <a:avLst/>
            <a:gdLst/>
            <a:ahLst/>
            <a:cxnLst/>
            <a:rect l="0" t="0" r="0" b="0"/>
            <a:pathLst>
              <a:path w="127508" h="295148">
                <a:moveTo>
                  <a:pt x="73533" y="0"/>
                </a:moveTo>
                <a:lnTo>
                  <a:pt x="26923" y="14860"/>
                </a:lnTo>
                <a:lnTo>
                  <a:pt x="3301" y="61087"/>
                </a:lnTo>
                <a:lnTo>
                  <a:pt x="0" y="118872"/>
                </a:lnTo>
                <a:lnTo>
                  <a:pt x="1142" y="148336"/>
                </a:lnTo>
                <a:lnTo>
                  <a:pt x="507" y="179071"/>
                </a:lnTo>
                <a:lnTo>
                  <a:pt x="3936" y="242062"/>
                </a:lnTo>
                <a:lnTo>
                  <a:pt x="51816" y="294133"/>
                </a:lnTo>
                <a:lnTo>
                  <a:pt x="88010" y="295148"/>
                </a:lnTo>
                <a:lnTo>
                  <a:pt x="122809" y="276734"/>
                </a:lnTo>
                <a:lnTo>
                  <a:pt x="127508" y="270637"/>
                </a:lnTo>
                <a:lnTo>
                  <a:pt x="57657" y="270637"/>
                </a:lnTo>
                <a:lnTo>
                  <a:pt x="37464" y="243079"/>
                </a:lnTo>
                <a:lnTo>
                  <a:pt x="30098" y="199645"/>
                </a:lnTo>
                <a:lnTo>
                  <a:pt x="30733" y="161164"/>
                </a:lnTo>
                <a:lnTo>
                  <a:pt x="29845" y="131191"/>
                </a:lnTo>
                <a:lnTo>
                  <a:pt x="29717" y="93854"/>
                </a:lnTo>
                <a:lnTo>
                  <a:pt x="34035" y="59436"/>
                </a:lnTo>
                <a:lnTo>
                  <a:pt x="46227" y="37973"/>
                </a:lnTo>
                <a:lnTo>
                  <a:pt x="81915" y="26162"/>
                </a:lnTo>
                <a:lnTo>
                  <a:pt x="121284" y="26162"/>
                </a:lnTo>
                <a:lnTo>
                  <a:pt x="106045" y="8636"/>
                </a:lnTo>
                <a:lnTo>
                  <a:pt x="73533" y="0"/>
                </a:lnTo>
                <a:close/>
                <a:moveTo>
                  <a:pt x="666750" y="3848100"/>
                </a:moveTo>
              </a:path>
            </a:pathLst>
          </a:custGeom>
          <a:solidFill>
            <a:srgbClr val="EBBE20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17" name="Freeform 717"/>
          <p:cNvSpPr/>
          <p:nvPr/>
        </p:nvSpPr>
        <p:spPr>
          <a:xfrm>
            <a:off x="3239007" y="3036062"/>
            <a:ext cx="104140" cy="244475"/>
          </a:xfrm>
          <a:custGeom>
            <a:avLst/>
            <a:gdLst/>
            <a:ahLst/>
            <a:cxnLst/>
            <a:rect l="0" t="0" r="0" b="0"/>
            <a:pathLst>
              <a:path w="104140" h="244475">
                <a:moveTo>
                  <a:pt x="63627" y="0"/>
                </a:moveTo>
                <a:lnTo>
                  <a:pt x="24258" y="0"/>
                </a:lnTo>
                <a:lnTo>
                  <a:pt x="47498" y="21463"/>
                </a:lnTo>
                <a:lnTo>
                  <a:pt x="61341" y="57278"/>
                </a:lnTo>
                <a:lnTo>
                  <a:pt x="68962" y="88900"/>
                </a:lnTo>
                <a:lnTo>
                  <a:pt x="75565" y="128524"/>
                </a:lnTo>
                <a:lnTo>
                  <a:pt x="75184" y="169292"/>
                </a:lnTo>
                <a:lnTo>
                  <a:pt x="64135" y="206375"/>
                </a:lnTo>
                <a:lnTo>
                  <a:pt x="38354" y="235204"/>
                </a:lnTo>
                <a:lnTo>
                  <a:pt x="0" y="244475"/>
                </a:lnTo>
                <a:lnTo>
                  <a:pt x="69851" y="244475"/>
                </a:lnTo>
                <a:lnTo>
                  <a:pt x="91440" y="216028"/>
                </a:lnTo>
                <a:lnTo>
                  <a:pt x="103378" y="174625"/>
                </a:lnTo>
                <a:lnTo>
                  <a:pt x="104140" y="129667"/>
                </a:lnTo>
                <a:lnTo>
                  <a:pt x="96775" y="84583"/>
                </a:lnTo>
                <a:lnTo>
                  <a:pt x="84328" y="42673"/>
                </a:lnTo>
                <a:lnTo>
                  <a:pt x="70232" y="7621"/>
                </a:lnTo>
                <a:lnTo>
                  <a:pt x="63627" y="0"/>
                </a:lnTo>
                <a:close/>
                <a:moveTo>
                  <a:pt x="582931" y="3821938"/>
                </a:moveTo>
              </a:path>
            </a:pathLst>
          </a:custGeom>
          <a:solidFill>
            <a:srgbClr val="EBBE20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18" name="Freeform 718"/>
          <p:cNvSpPr/>
          <p:nvPr/>
        </p:nvSpPr>
        <p:spPr>
          <a:xfrm>
            <a:off x="3186176" y="3014727"/>
            <a:ext cx="161670" cy="295147"/>
          </a:xfrm>
          <a:custGeom>
            <a:avLst/>
            <a:gdLst/>
            <a:ahLst/>
            <a:cxnLst/>
            <a:rect l="0" t="0" r="0" b="0"/>
            <a:pathLst>
              <a:path w="161670" h="295147">
                <a:moveTo>
                  <a:pt x="26797" y="14858"/>
                </a:moveTo>
                <a:lnTo>
                  <a:pt x="11303" y="33273"/>
                </a:lnTo>
                <a:lnTo>
                  <a:pt x="3301" y="60959"/>
                </a:lnTo>
                <a:lnTo>
                  <a:pt x="381" y="91694"/>
                </a:lnTo>
                <a:lnTo>
                  <a:pt x="0" y="118745"/>
                </a:lnTo>
                <a:lnTo>
                  <a:pt x="1143" y="148335"/>
                </a:lnTo>
                <a:lnTo>
                  <a:pt x="507" y="178943"/>
                </a:lnTo>
                <a:lnTo>
                  <a:pt x="3809" y="242062"/>
                </a:lnTo>
                <a:lnTo>
                  <a:pt x="51816" y="294004"/>
                </a:lnTo>
                <a:lnTo>
                  <a:pt x="88010" y="295147"/>
                </a:lnTo>
                <a:lnTo>
                  <a:pt x="122682" y="276733"/>
                </a:lnTo>
                <a:lnTo>
                  <a:pt x="149097" y="242189"/>
                </a:lnTo>
                <a:lnTo>
                  <a:pt x="161035" y="200659"/>
                </a:lnTo>
                <a:lnTo>
                  <a:pt x="161670" y="155828"/>
                </a:lnTo>
                <a:lnTo>
                  <a:pt x="154304" y="110744"/>
                </a:lnTo>
                <a:lnTo>
                  <a:pt x="141985" y="68707"/>
                </a:lnTo>
                <a:lnTo>
                  <a:pt x="127762" y="33782"/>
                </a:lnTo>
                <a:lnTo>
                  <a:pt x="106045" y="8508"/>
                </a:lnTo>
                <a:lnTo>
                  <a:pt x="73406" y="0"/>
                </a:lnTo>
                <a:lnTo>
                  <a:pt x="26797" y="14858"/>
                </a:lnTo>
                <a:close/>
                <a:moveTo>
                  <a:pt x="642239" y="3843273"/>
                </a:moveTo>
              </a:path>
            </a:pathLst>
          </a:custGeom>
          <a:noFill/>
          <a:ln w="9144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719" name="Picture 719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209925" y="3028950"/>
            <a:ext cx="104775" cy="257175"/>
          </a:xfrm>
          <a:prstGeom prst="rect">
            <a:avLst/>
          </a:prstGeom>
          <a:noFill/>
        </p:spPr>
      </p:pic>
      <p:sp>
        <p:nvSpPr>
          <p:cNvPr id="720" name="Freeform 720"/>
          <p:cNvSpPr/>
          <p:nvPr/>
        </p:nvSpPr>
        <p:spPr>
          <a:xfrm>
            <a:off x="3534917" y="3201290"/>
            <a:ext cx="55880" cy="94233"/>
          </a:xfrm>
          <a:custGeom>
            <a:avLst/>
            <a:gdLst/>
            <a:ahLst/>
            <a:cxnLst/>
            <a:rect l="0" t="0" r="0" b="0"/>
            <a:pathLst>
              <a:path w="55880" h="94233">
                <a:moveTo>
                  <a:pt x="26798" y="0"/>
                </a:moveTo>
                <a:lnTo>
                  <a:pt x="0" y="0"/>
                </a:lnTo>
                <a:lnTo>
                  <a:pt x="6223" y="22732"/>
                </a:lnTo>
                <a:lnTo>
                  <a:pt x="13843" y="45084"/>
                </a:lnTo>
                <a:lnTo>
                  <a:pt x="22861" y="66801"/>
                </a:lnTo>
                <a:lnTo>
                  <a:pt x="33148" y="87376"/>
                </a:lnTo>
                <a:lnTo>
                  <a:pt x="40767" y="94233"/>
                </a:lnTo>
                <a:lnTo>
                  <a:pt x="49658" y="93090"/>
                </a:lnTo>
                <a:lnTo>
                  <a:pt x="55880" y="86359"/>
                </a:lnTo>
                <a:lnTo>
                  <a:pt x="55118" y="76072"/>
                </a:lnTo>
                <a:lnTo>
                  <a:pt x="37085" y="31750"/>
                </a:lnTo>
                <a:lnTo>
                  <a:pt x="26798" y="0"/>
                </a:lnTo>
                <a:close/>
                <a:moveTo>
                  <a:pt x="121793" y="3656710"/>
                </a:moveTo>
              </a:path>
            </a:pathLst>
          </a:custGeom>
          <a:solidFill>
            <a:srgbClr val="EBBE20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21" name="Freeform 721"/>
          <p:cNvSpPr/>
          <p:nvPr/>
        </p:nvSpPr>
        <p:spPr>
          <a:xfrm>
            <a:off x="3409950" y="3000375"/>
            <a:ext cx="151765" cy="293497"/>
          </a:xfrm>
          <a:custGeom>
            <a:avLst/>
            <a:gdLst/>
            <a:ahLst/>
            <a:cxnLst/>
            <a:rect l="0" t="0" r="0" b="0"/>
            <a:pathLst>
              <a:path w="151765" h="293497">
                <a:moveTo>
                  <a:pt x="74040" y="0"/>
                </a:moveTo>
                <a:lnTo>
                  <a:pt x="67055" y="2286"/>
                </a:lnTo>
                <a:lnTo>
                  <a:pt x="62484" y="7112"/>
                </a:lnTo>
                <a:lnTo>
                  <a:pt x="58165" y="25528"/>
                </a:lnTo>
                <a:lnTo>
                  <a:pt x="47116" y="69597"/>
                </a:lnTo>
                <a:lnTo>
                  <a:pt x="32639" y="128271"/>
                </a:lnTo>
                <a:lnTo>
                  <a:pt x="17907" y="190373"/>
                </a:lnTo>
                <a:lnTo>
                  <a:pt x="5969" y="244856"/>
                </a:lnTo>
                <a:lnTo>
                  <a:pt x="0" y="280671"/>
                </a:lnTo>
                <a:lnTo>
                  <a:pt x="1904" y="289815"/>
                </a:lnTo>
                <a:lnTo>
                  <a:pt x="10033" y="293497"/>
                </a:lnTo>
                <a:lnTo>
                  <a:pt x="19558" y="290830"/>
                </a:lnTo>
                <a:lnTo>
                  <a:pt x="25653" y="280671"/>
                </a:lnTo>
                <a:lnTo>
                  <a:pt x="28575" y="260731"/>
                </a:lnTo>
                <a:lnTo>
                  <a:pt x="31750" y="240792"/>
                </a:lnTo>
                <a:lnTo>
                  <a:pt x="35559" y="220854"/>
                </a:lnTo>
                <a:lnTo>
                  <a:pt x="40385" y="200915"/>
                </a:lnTo>
                <a:lnTo>
                  <a:pt x="151765" y="200915"/>
                </a:lnTo>
                <a:lnTo>
                  <a:pt x="147320" y="187579"/>
                </a:lnTo>
                <a:lnTo>
                  <a:pt x="143509" y="174372"/>
                </a:lnTo>
                <a:lnTo>
                  <a:pt x="44069" y="174372"/>
                </a:lnTo>
                <a:lnTo>
                  <a:pt x="49657" y="157227"/>
                </a:lnTo>
                <a:lnTo>
                  <a:pt x="52323" y="148717"/>
                </a:lnTo>
                <a:lnTo>
                  <a:pt x="55117" y="140081"/>
                </a:lnTo>
                <a:lnTo>
                  <a:pt x="60578" y="117984"/>
                </a:lnTo>
                <a:lnTo>
                  <a:pt x="71628" y="74930"/>
                </a:lnTo>
                <a:lnTo>
                  <a:pt x="77215" y="52705"/>
                </a:lnTo>
                <a:lnTo>
                  <a:pt x="106679" y="52705"/>
                </a:lnTo>
                <a:lnTo>
                  <a:pt x="106298" y="51435"/>
                </a:lnTo>
                <a:lnTo>
                  <a:pt x="88265" y="7112"/>
                </a:lnTo>
                <a:lnTo>
                  <a:pt x="81660" y="1271"/>
                </a:lnTo>
                <a:lnTo>
                  <a:pt x="74040" y="0"/>
                </a:lnTo>
                <a:close/>
                <a:moveTo>
                  <a:pt x="447675" y="3857625"/>
                </a:moveTo>
              </a:path>
            </a:pathLst>
          </a:custGeom>
          <a:solidFill>
            <a:srgbClr val="EBBE20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22" name="Freeform 722"/>
          <p:cNvSpPr/>
          <p:nvPr/>
        </p:nvSpPr>
        <p:spPr>
          <a:xfrm>
            <a:off x="3487165" y="3053080"/>
            <a:ext cx="66294" cy="121667"/>
          </a:xfrm>
          <a:custGeom>
            <a:avLst/>
            <a:gdLst/>
            <a:ahLst/>
            <a:cxnLst/>
            <a:rect l="0" t="0" r="0" b="0"/>
            <a:pathLst>
              <a:path w="66294" h="121667">
                <a:moveTo>
                  <a:pt x="29464" y="0"/>
                </a:moveTo>
                <a:lnTo>
                  <a:pt x="0" y="0"/>
                </a:lnTo>
                <a:lnTo>
                  <a:pt x="12574" y="29211"/>
                </a:lnTo>
                <a:lnTo>
                  <a:pt x="22988" y="59436"/>
                </a:lnTo>
                <a:lnTo>
                  <a:pt x="32005" y="90298"/>
                </a:lnTo>
                <a:lnTo>
                  <a:pt x="40387" y="121667"/>
                </a:lnTo>
                <a:lnTo>
                  <a:pt x="66294" y="121667"/>
                </a:lnTo>
                <a:lnTo>
                  <a:pt x="43815" y="43816"/>
                </a:lnTo>
                <a:lnTo>
                  <a:pt x="29464" y="0"/>
                </a:lnTo>
                <a:close/>
                <a:moveTo>
                  <a:pt x="317755" y="3804920"/>
                </a:moveTo>
              </a:path>
            </a:pathLst>
          </a:custGeom>
          <a:solidFill>
            <a:srgbClr val="EBBE20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23" name="Freeform 723"/>
          <p:cNvSpPr/>
          <p:nvPr/>
        </p:nvSpPr>
        <p:spPr>
          <a:xfrm>
            <a:off x="3414776" y="3005202"/>
            <a:ext cx="180720" cy="295020"/>
          </a:xfrm>
          <a:custGeom>
            <a:avLst/>
            <a:gdLst/>
            <a:ahLst/>
            <a:cxnLst/>
            <a:rect l="0" t="0" r="0" b="0"/>
            <a:pathLst>
              <a:path w="180720" h="295020">
                <a:moveTo>
                  <a:pt x="88138" y="7112"/>
                </a:moveTo>
                <a:lnTo>
                  <a:pt x="81533" y="1143"/>
                </a:lnTo>
                <a:lnTo>
                  <a:pt x="73914" y="0"/>
                </a:lnTo>
                <a:lnTo>
                  <a:pt x="67056" y="2285"/>
                </a:lnTo>
                <a:lnTo>
                  <a:pt x="62483" y="7112"/>
                </a:lnTo>
                <a:lnTo>
                  <a:pt x="58039" y="25527"/>
                </a:lnTo>
                <a:lnTo>
                  <a:pt x="47116" y="69595"/>
                </a:lnTo>
                <a:lnTo>
                  <a:pt x="32639" y="128143"/>
                </a:lnTo>
                <a:lnTo>
                  <a:pt x="17779" y="190245"/>
                </a:lnTo>
                <a:lnTo>
                  <a:pt x="5841" y="244856"/>
                </a:lnTo>
                <a:lnTo>
                  <a:pt x="0" y="280670"/>
                </a:lnTo>
                <a:lnTo>
                  <a:pt x="1904" y="289687"/>
                </a:lnTo>
                <a:lnTo>
                  <a:pt x="10033" y="293496"/>
                </a:lnTo>
                <a:lnTo>
                  <a:pt x="19558" y="290829"/>
                </a:lnTo>
                <a:lnTo>
                  <a:pt x="25653" y="280670"/>
                </a:lnTo>
                <a:lnTo>
                  <a:pt x="28447" y="260731"/>
                </a:lnTo>
                <a:lnTo>
                  <a:pt x="31622" y="240791"/>
                </a:lnTo>
                <a:lnTo>
                  <a:pt x="35433" y="220852"/>
                </a:lnTo>
                <a:lnTo>
                  <a:pt x="40385" y="200914"/>
                </a:lnTo>
                <a:lnTo>
                  <a:pt x="61849" y="200914"/>
                </a:lnTo>
                <a:lnTo>
                  <a:pt x="82677" y="200914"/>
                </a:lnTo>
                <a:lnTo>
                  <a:pt x="103504" y="200914"/>
                </a:lnTo>
                <a:lnTo>
                  <a:pt x="124968" y="200914"/>
                </a:lnTo>
                <a:lnTo>
                  <a:pt x="131190" y="223646"/>
                </a:lnTo>
                <a:lnTo>
                  <a:pt x="138683" y="245998"/>
                </a:lnTo>
                <a:lnTo>
                  <a:pt x="147701" y="267715"/>
                </a:lnTo>
                <a:lnTo>
                  <a:pt x="158114" y="288289"/>
                </a:lnTo>
                <a:lnTo>
                  <a:pt x="165608" y="295020"/>
                </a:lnTo>
                <a:lnTo>
                  <a:pt x="174625" y="294004"/>
                </a:lnTo>
                <a:lnTo>
                  <a:pt x="180720" y="287273"/>
                </a:lnTo>
                <a:lnTo>
                  <a:pt x="180085" y="276987"/>
                </a:lnTo>
                <a:lnTo>
                  <a:pt x="162052" y="232664"/>
                </a:lnTo>
                <a:lnTo>
                  <a:pt x="147320" y="187452"/>
                </a:lnTo>
                <a:lnTo>
                  <a:pt x="134112" y="141985"/>
                </a:lnTo>
                <a:lnTo>
                  <a:pt x="121031" y="96393"/>
                </a:lnTo>
                <a:lnTo>
                  <a:pt x="106171" y="51308"/>
                </a:lnTo>
                <a:lnTo>
                  <a:pt x="88138" y="7112"/>
                </a:lnTo>
                <a:close/>
                <a:moveTo>
                  <a:pt x="430910" y="3852798"/>
                </a:moveTo>
              </a:path>
            </a:pathLst>
          </a:custGeom>
          <a:noFill/>
          <a:ln w="9144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724" name="Picture 724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448050" y="3048000"/>
            <a:ext cx="85725" cy="133350"/>
          </a:xfrm>
          <a:prstGeom prst="rect">
            <a:avLst/>
          </a:prstGeom>
          <a:noFill/>
        </p:spPr>
      </p:pic>
      <p:sp>
        <p:nvSpPr>
          <p:cNvPr id="725" name="Freeform 725"/>
          <p:cNvSpPr/>
          <p:nvPr/>
        </p:nvSpPr>
        <p:spPr>
          <a:xfrm>
            <a:off x="3657600" y="2990850"/>
            <a:ext cx="130683" cy="304673"/>
          </a:xfrm>
          <a:custGeom>
            <a:avLst/>
            <a:gdLst/>
            <a:ahLst/>
            <a:cxnLst/>
            <a:rect l="0" t="0" r="0" b="0"/>
            <a:pathLst>
              <a:path w="130683" h="304673">
                <a:moveTo>
                  <a:pt x="42926" y="0"/>
                </a:moveTo>
                <a:lnTo>
                  <a:pt x="11303" y="2286"/>
                </a:lnTo>
                <a:lnTo>
                  <a:pt x="3428" y="5970"/>
                </a:lnTo>
                <a:lnTo>
                  <a:pt x="380" y="14352"/>
                </a:lnTo>
                <a:lnTo>
                  <a:pt x="0" y="23368"/>
                </a:lnTo>
                <a:lnTo>
                  <a:pt x="380" y="29210"/>
                </a:lnTo>
                <a:lnTo>
                  <a:pt x="2159" y="81535"/>
                </a:lnTo>
                <a:lnTo>
                  <a:pt x="3555" y="136272"/>
                </a:lnTo>
                <a:lnTo>
                  <a:pt x="4571" y="185166"/>
                </a:lnTo>
                <a:lnTo>
                  <a:pt x="5841" y="236983"/>
                </a:lnTo>
                <a:lnTo>
                  <a:pt x="7620" y="289434"/>
                </a:lnTo>
                <a:lnTo>
                  <a:pt x="11303" y="293243"/>
                </a:lnTo>
                <a:lnTo>
                  <a:pt x="14859" y="297054"/>
                </a:lnTo>
                <a:lnTo>
                  <a:pt x="18669" y="300864"/>
                </a:lnTo>
                <a:lnTo>
                  <a:pt x="22225" y="304673"/>
                </a:lnTo>
                <a:lnTo>
                  <a:pt x="29464" y="304673"/>
                </a:lnTo>
                <a:lnTo>
                  <a:pt x="74676" y="294386"/>
                </a:lnTo>
                <a:lnTo>
                  <a:pt x="114300" y="278130"/>
                </a:lnTo>
                <a:lnTo>
                  <a:pt x="114553" y="277877"/>
                </a:lnTo>
                <a:lnTo>
                  <a:pt x="36829" y="277877"/>
                </a:lnTo>
                <a:lnTo>
                  <a:pt x="33146" y="227711"/>
                </a:lnTo>
                <a:lnTo>
                  <a:pt x="30860" y="178181"/>
                </a:lnTo>
                <a:lnTo>
                  <a:pt x="29209" y="128779"/>
                </a:lnTo>
                <a:lnTo>
                  <a:pt x="27685" y="77979"/>
                </a:lnTo>
                <a:lnTo>
                  <a:pt x="25908" y="30099"/>
                </a:lnTo>
                <a:lnTo>
                  <a:pt x="25908" y="25400"/>
                </a:lnTo>
                <a:lnTo>
                  <a:pt x="55753" y="24892"/>
                </a:lnTo>
                <a:lnTo>
                  <a:pt x="130683" y="24892"/>
                </a:lnTo>
                <a:lnTo>
                  <a:pt x="105917" y="8255"/>
                </a:lnTo>
                <a:lnTo>
                  <a:pt x="75438" y="890"/>
                </a:lnTo>
                <a:lnTo>
                  <a:pt x="42926" y="0"/>
                </a:lnTo>
                <a:close/>
                <a:moveTo>
                  <a:pt x="209550" y="3867150"/>
                </a:moveTo>
              </a:path>
            </a:pathLst>
          </a:custGeom>
          <a:solidFill>
            <a:srgbClr val="EBBE20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26" name="Freeform 726"/>
          <p:cNvSpPr/>
          <p:nvPr/>
        </p:nvSpPr>
        <p:spPr>
          <a:xfrm>
            <a:off x="3694429" y="3015742"/>
            <a:ext cx="143765" cy="252985"/>
          </a:xfrm>
          <a:custGeom>
            <a:avLst/>
            <a:gdLst/>
            <a:ahLst/>
            <a:cxnLst/>
            <a:rect l="0" t="0" r="0" b="0"/>
            <a:pathLst>
              <a:path w="143765" h="252985">
                <a:moveTo>
                  <a:pt x="93854" y="0"/>
                </a:moveTo>
                <a:lnTo>
                  <a:pt x="18924" y="0"/>
                </a:lnTo>
                <a:lnTo>
                  <a:pt x="47244" y="5207"/>
                </a:lnTo>
                <a:lnTo>
                  <a:pt x="73025" y="17654"/>
                </a:lnTo>
                <a:lnTo>
                  <a:pt x="103632" y="58929"/>
                </a:lnTo>
                <a:lnTo>
                  <a:pt x="113538" y="108586"/>
                </a:lnTo>
                <a:lnTo>
                  <a:pt x="116460" y="130556"/>
                </a:lnTo>
                <a:lnTo>
                  <a:pt x="111506" y="181483"/>
                </a:lnTo>
                <a:lnTo>
                  <a:pt x="85472" y="216155"/>
                </a:lnTo>
                <a:lnTo>
                  <a:pt x="45848" y="238761"/>
                </a:lnTo>
                <a:lnTo>
                  <a:pt x="0" y="252985"/>
                </a:lnTo>
                <a:lnTo>
                  <a:pt x="77724" y="252985"/>
                </a:lnTo>
                <a:lnTo>
                  <a:pt x="109601" y="230124"/>
                </a:lnTo>
                <a:lnTo>
                  <a:pt x="132335" y="199391"/>
                </a:lnTo>
                <a:lnTo>
                  <a:pt x="143765" y="160020"/>
                </a:lnTo>
                <a:lnTo>
                  <a:pt x="141860" y="111380"/>
                </a:lnTo>
                <a:lnTo>
                  <a:pt x="136017" y="82297"/>
                </a:lnTo>
                <a:lnTo>
                  <a:pt x="127762" y="53087"/>
                </a:lnTo>
                <a:lnTo>
                  <a:pt x="114809" y="25274"/>
                </a:lnTo>
                <a:lnTo>
                  <a:pt x="94616" y="508"/>
                </a:lnTo>
                <a:lnTo>
                  <a:pt x="93854" y="0"/>
                </a:lnTo>
                <a:close/>
                <a:moveTo>
                  <a:pt x="147829" y="3842258"/>
                </a:moveTo>
              </a:path>
            </a:pathLst>
          </a:custGeom>
          <a:solidFill>
            <a:srgbClr val="EBBE20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27" name="Freeform 727"/>
          <p:cNvSpPr/>
          <p:nvPr/>
        </p:nvSpPr>
        <p:spPr>
          <a:xfrm>
            <a:off x="3662426" y="2995677"/>
            <a:ext cx="180466" cy="304672"/>
          </a:xfrm>
          <a:custGeom>
            <a:avLst/>
            <a:gdLst/>
            <a:ahLst/>
            <a:cxnLst/>
            <a:rect l="0" t="0" r="0" b="0"/>
            <a:pathLst>
              <a:path w="180466" h="304672">
                <a:moveTo>
                  <a:pt x="131318" y="25272"/>
                </a:moveTo>
                <a:lnTo>
                  <a:pt x="105918" y="8254"/>
                </a:lnTo>
                <a:lnTo>
                  <a:pt x="75438" y="889"/>
                </a:lnTo>
                <a:lnTo>
                  <a:pt x="42799" y="0"/>
                </a:lnTo>
                <a:lnTo>
                  <a:pt x="11302" y="2285"/>
                </a:lnTo>
                <a:lnTo>
                  <a:pt x="3428" y="5969"/>
                </a:lnTo>
                <a:lnTo>
                  <a:pt x="253" y="14223"/>
                </a:lnTo>
                <a:lnTo>
                  <a:pt x="0" y="23368"/>
                </a:lnTo>
                <a:lnTo>
                  <a:pt x="253" y="29083"/>
                </a:lnTo>
                <a:lnTo>
                  <a:pt x="2158" y="81533"/>
                </a:lnTo>
                <a:lnTo>
                  <a:pt x="3428" y="133350"/>
                </a:lnTo>
                <a:lnTo>
                  <a:pt x="4571" y="185039"/>
                </a:lnTo>
                <a:lnTo>
                  <a:pt x="5841" y="236982"/>
                </a:lnTo>
                <a:lnTo>
                  <a:pt x="7620" y="289433"/>
                </a:lnTo>
                <a:lnTo>
                  <a:pt x="11302" y="293243"/>
                </a:lnTo>
                <a:lnTo>
                  <a:pt x="14858" y="297052"/>
                </a:lnTo>
                <a:lnTo>
                  <a:pt x="18541" y="300863"/>
                </a:lnTo>
                <a:lnTo>
                  <a:pt x="22097" y="304672"/>
                </a:lnTo>
                <a:lnTo>
                  <a:pt x="25781" y="304672"/>
                </a:lnTo>
                <a:lnTo>
                  <a:pt x="29464" y="304672"/>
                </a:lnTo>
                <a:lnTo>
                  <a:pt x="74549" y="294258"/>
                </a:lnTo>
                <a:lnTo>
                  <a:pt x="114172" y="278002"/>
                </a:lnTo>
                <a:lnTo>
                  <a:pt x="146303" y="254889"/>
                </a:lnTo>
                <a:lnTo>
                  <a:pt x="169037" y="224154"/>
                </a:lnTo>
                <a:lnTo>
                  <a:pt x="180466" y="184912"/>
                </a:lnTo>
                <a:lnTo>
                  <a:pt x="178689" y="136270"/>
                </a:lnTo>
                <a:lnTo>
                  <a:pt x="172846" y="107060"/>
                </a:lnTo>
                <a:lnTo>
                  <a:pt x="164591" y="77851"/>
                </a:lnTo>
                <a:lnTo>
                  <a:pt x="151510" y="50164"/>
                </a:lnTo>
                <a:lnTo>
                  <a:pt x="131318" y="25272"/>
                </a:lnTo>
                <a:close/>
                <a:moveTo>
                  <a:pt x="174625" y="3862323"/>
                </a:moveTo>
              </a:path>
            </a:pathLst>
          </a:custGeom>
          <a:noFill/>
          <a:ln w="9144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28" name="Freeform 728"/>
          <p:cNvSpPr/>
          <p:nvPr/>
        </p:nvSpPr>
        <p:spPr>
          <a:xfrm>
            <a:off x="3688207" y="3020441"/>
            <a:ext cx="127381" cy="252984"/>
          </a:xfrm>
          <a:custGeom>
            <a:avLst/>
            <a:gdLst/>
            <a:ahLst/>
            <a:cxnLst/>
            <a:rect l="0" t="0" r="0" b="0"/>
            <a:pathLst>
              <a:path w="127381" h="252984">
                <a:moveTo>
                  <a:pt x="10921" y="252984"/>
                </a:moveTo>
                <a:lnTo>
                  <a:pt x="7365" y="202946"/>
                </a:lnTo>
                <a:lnTo>
                  <a:pt x="4952" y="153417"/>
                </a:lnTo>
                <a:lnTo>
                  <a:pt x="3302" y="104013"/>
                </a:lnTo>
                <a:lnTo>
                  <a:pt x="1904" y="54483"/>
                </a:lnTo>
                <a:lnTo>
                  <a:pt x="0" y="4319"/>
                </a:lnTo>
                <a:lnTo>
                  <a:pt x="0" y="508"/>
                </a:lnTo>
                <a:lnTo>
                  <a:pt x="29845" y="0"/>
                </a:lnTo>
                <a:lnTo>
                  <a:pt x="83946" y="17654"/>
                </a:lnTo>
                <a:lnTo>
                  <a:pt x="114553" y="59056"/>
                </a:lnTo>
                <a:lnTo>
                  <a:pt x="124459" y="108205"/>
                </a:lnTo>
                <a:lnTo>
                  <a:pt x="127381" y="130556"/>
                </a:lnTo>
                <a:lnTo>
                  <a:pt x="122554" y="181483"/>
                </a:lnTo>
                <a:lnTo>
                  <a:pt x="96520" y="216281"/>
                </a:lnTo>
                <a:lnTo>
                  <a:pt x="56769" y="238761"/>
                </a:lnTo>
                <a:lnTo>
                  <a:pt x="10921" y="252984"/>
                </a:lnTo>
                <a:close/>
                <a:moveTo>
                  <a:pt x="-103632" y="3837559"/>
                </a:moveTo>
              </a:path>
            </a:pathLst>
          </a:custGeom>
          <a:noFill/>
          <a:ln w="9144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29" name="Freeform 729"/>
          <p:cNvSpPr/>
          <p:nvPr/>
        </p:nvSpPr>
        <p:spPr>
          <a:xfrm>
            <a:off x="3924300" y="2990850"/>
            <a:ext cx="28066" cy="314198"/>
          </a:xfrm>
          <a:custGeom>
            <a:avLst/>
            <a:gdLst/>
            <a:ahLst/>
            <a:cxnLst/>
            <a:rect l="0" t="0" r="0" b="0"/>
            <a:pathLst>
              <a:path w="28066" h="314198">
                <a:moveTo>
                  <a:pt x="19684" y="0"/>
                </a:moveTo>
                <a:lnTo>
                  <a:pt x="2921" y="41022"/>
                </a:lnTo>
                <a:lnTo>
                  <a:pt x="889" y="90297"/>
                </a:lnTo>
                <a:lnTo>
                  <a:pt x="127" y="148845"/>
                </a:lnTo>
                <a:lnTo>
                  <a:pt x="0" y="208535"/>
                </a:lnTo>
                <a:lnTo>
                  <a:pt x="380" y="299974"/>
                </a:lnTo>
                <a:lnTo>
                  <a:pt x="3809" y="310642"/>
                </a:lnTo>
                <a:lnTo>
                  <a:pt x="11176" y="314198"/>
                </a:lnTo>
                <a:lnTo>
                  <a:pt x="18541" y="310642"/>
                </a:lnTo>
                <a:lnTo>
                  <a:pt x="21971" y="299974"/>
                </a:lnTo>
                <a:lnTo>
                  <a:pt x="20828" y="217297"/>
                </a:lnTo>
                <a:lnTo>
                  <a:pt x="20446" y="159640"/>
                </a:lnTo>
                <a:lnTo>
                  <a:pt x="21082" y="101728"/>
                </a:lnTo>
                <a:lnTo>
                  <a:pt x="23367" y="51435"/>
                </a:lnTo>
                <a:lnTo>
                  <a:pt x="28066" y="16510"/>
                </a:lnTo>
                <a:lnTo>
                  <a:pt x="26415" y="5208"/>
                </a:lnTo>
                <a:lnTo>
                  <a:pt x="19684" y="0"/>
                </a:lnTo>
                <a:close/>
                <a:moveTo>
                  <a:pt x="-57150" y="3867150"/>
                </a:moveTo>
              </a:path>
            </a:pathLst>
          </a:custGeom>
          <a:solidFill>
            <a:srgbClr val="EBBE20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30" name="Freeform 730"/>
          <p:cNvSpPr/>
          <p:nvPr/>
        </p:nvSpPr>
        <p:spPr>
          <a:xfrm>
            <a:off x="3929126" y="2995677"/>
            <a:ext cx="28066" cy="314070"/>
          </a:xfrm>
          <a:custGeom>
            <a:avLst/>
            <a:gdLst/>
            <a:ahLst/>
            <a:cxnLst/>
            <a:rect l="0" t="0" r="0" b="0"/>
            <a:pathLst>
              <a:path w="28066" h="314070">
                <a:moveTo>
                  <a:pt x="6477" y="8889"/>
                </a:moveTo>
                <a:lnTo>
                  <a:pt x="2920" y="41020"/>
                </a:lnTo>
                <a:lnTo>
                  <a:pt x="889" y="90296"/>
                </a:lnTo>
                <a:lnTo>
                  <a:pt x="0" y="148716"/>
                </a:lnTo>
                <a:lnTo>
                  <a:pt x="0" y="208533"/>
                </a:lnTo>
                <a:lnTo>
                  <a:pt x="253" y="261620"/>
                </a:lnTo>
                <a:lnTo>
                  <a:pt x="381" y="299973"/>
                </a:lnTo>
                <a:lnTo>
                  <a:pt x="3683" y="310514"/>
                </a:lnTo>
                <a:lnTo>
                  <a:pt x="11176" y="314070"/>
                </a:lnTo>
                <a:lnTo>
                  <a:pt x="18541" y="310514"/>
                </a:lnTo>
                <a:lnTo>
                  <a:pt x="21844" y="299973"/>
                </a:lnTo>
                <a:lnTo>
                  <a:pt x="21463" y="266572"/>
                </a:lnTo>
                <a:lnTo>
                  <a:pt x="20701" y="217170"/>
                </a:lnTo>
                <a:lnTo>
                  <a:pt x="20320" y="159639"/>
                </a:lnTo>
                <a:lnTo>
                  <a:pt x="20954" y="101727"/>
                </a:lnTo>
                <a:lnTo>
                  <a:pt x="23368" y="51434"/>
                </a:lnTo>
                <a:lnTo>
                  <a:pt x="28066" y="16509"/>
                </a:lnTo>
                <a:lnTo>
                  <a:pt x="26415" y="5207"/>
                </a:lnTo>
                <a:lnTo>
                  <a:pt x="19558" y="0"/>
                </a:lnTo>
                <a:lnTo>
                  <a:pt x="11557" y="1015"/>
                </a:lnTo>
                <a:lnTo>
                  <a:pt x="6477" y="8889"/>
                </a:lnTo>
                <a:close/>
                <a:moveTo>
                  <a:pt x="-75692" y="3862323"/>
                </a:moveTo>
              </a:path>
            </a:pathLst>
          </a:custGeom>
          <a:noFill/>
          <a:ln w="9144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31" name="Freeform 731"/>
          <p:cNvSpPr/>
          <p:nvPr/>
        </p:nvSpPr>
        <p:spPr>
          <a:xfrm>
            <a:off x="4048125" y="2981325"/>
            <a:ext cx="180721" cy="323342"/>
          </a:xfrm>
          <a:custGeom>
            <a:avLst/>
            <a:gdLst/>
            <a:ahLst/>
            <a:cxnLst/>
            <a:rect l="0" t="0" r="0" b="0"/>
            <a:pathLst>
              <a:path w="180721" h="323342">
                <a:moveTo>
                  <a:pt x="166496" y="0"/>
                </a:moveTo>
                <a:lnTo>
                  <a:pt x="157098" y="3556"/>
                </a:lnTo>
                <a:lnTo>
                  <a:pt x="152780" y="14352"/>
                </a:lnTo>
                <a:lnTo>
                  <a:pt x="151638" y="52324"/>
                </a:lnTo>
                <a:lnTo>
                  <a:pt x="152272" y="107950"/>
                </a:lnTo>
                <a:lnTo>
                  <a:pt x="153289" y="169418"/>
                </a:lnTo>
                <a:lnTo>
                  <a:pt x="153923" y="225045"/>
                </a:lnTo>
                <a:lnTo>
                  <a:pt x="152780" y="263145"/>
                </a:lnTo>
                <a:lnTo>
                  <a:pt x="146811" y="264160"/>
                </a:lnTo>
                <a:lnTo>
                  <a:pt x="136271" y="242190"/>
                </a:lnTo>
                <a:lnTo>
                  <a:pt x="102996" y="155195"/>
                </a:lnTo>
                <a:lnTo>
                  <a:pt x="81407" y="103124"/>
                </a:lnTo>
                <a:lnTo>
                  <a:pt x="57403" y="53975"/>
                </a:lnTo>
                <a:lnTo>
                  <a:pt x="31369" y="14352"/>
                </a:lnTo>
                <a:lnTo>
                  <a:pt x="18160" y="6859"/>
                </a:lnTo>
                <a:lnTo>
                  <a:pt x="8382" y="9017"/>
                </a:lnTo>
                <a:lnTo>
                  <a:pt x="2159" y="14860"/>
                </a:lnTo>
                <a:lnTo>
                  <a:pt x="0" y="18161"/>
                </a:lnTo>
                <a:lnTo>
                  <a:pt x="253" y="62230"/>
                </a:lnTo>
                <a:lnTo>
                  <a:pt x="1523" y="159259"/>
                </a:lnTo>
                <a:lnTo>
                  <a:pt x="1778" y="209804"/>
                </a:lnTo>
                <a:lnTo>
                  <a:pt x="1396" y="260097"/>
                </a:lnTo>
                <a:lnTo>
                  <a:pt x="0" y="308991"/>
                </a:lnTo>
                <a:lnTo>
                  <a:pt x="4953" y="319786"/>
                </a:lnTo>
                <a:lnTo>
                  <a:pt x="15621" y="323342"/>
                </a:lnTo>
                <a:lnTo>
                  <a:pt x="26415" y="319786"/>
                </a:lnTo>
                <a:lnTo>
                  <a:pt x="31369" y="308991"/>
                </a:lnTo>
                <a:lnTo>
                  <a:pt x="32130" y="264160"/>
                </a:lnTo>
                <a:lnTo>
                  <a:pt x="35559" y="170689"/>
                </a:lnTo>
                <a:lnTo>
                  <a:pt x="36321" y="124206"/>
                </a:lnTo>
                <a:lnTo>
                  <a:pt x="35305" y="79503"/>
                </a:lnTo>
                <a:lnTo>
                  <a:pt x="54864" y="121666"/>
                </a:lnTo>
                <a:lnTo>
                  <a:pt x="75438" y="168529"/>
                </a:lnTo>
                <a:lnTo>
                  <a:pt x="95884" y="217171"/>
                </a:lnTo>
                <a:lnTo>
                  <a:pt x="115570" y="264922"/>
                </a:lnTo>
                <a:lnTo>
                  <a:pt x="133222" y="308991"/>
                </a:lnTo>
                <a:lnTo>
                  <a:pt x="137540" y="313945"/>
                </a:lnTo>
                <a:lnTo>
                  <a:pt x="144017" y="316611"/>
                </a:lnTo>
                <a:lnTo>
                  <a:pt x="151891" y="316485"/>
                </a:lnTo>
                <a:lnTo>
                  <a:pt x="160654" y="312802"/>
                </a:lnTo>
                <a:lnTo>
                  <a:pt x="172720" y="286766"/>
                </a:lnTo>
                <a:lnTo>
                  <a:pt x="178815" y="237998"/>
                </a:lnTo>
                <a:lnTo>
                  <a:pt x="180721" y="176404"/>
                </a:lnTo>
                <a:lnTo>
                  <a:pt x="180340" y="112141"/>
                </a:lnTo>
                <a:lnTo>
                  <a:pt x="179578" y="54737"/>
                </a:lnTo>
                <a:lnTo>
                  <a:pt x="180213" y="14352"/>
                </a:lnTo>
                <a:lnTo>
                  <a:pt x="175895" y="3556"/>
                </a:lnTo>
                <a:lnTo>
                  <a:pt x="166496" y="0"/>
                </a:lnTo>
                <a:close/>
                <a:moveTo>
                  <a:pt x="-171450" y="3876675"/>
                </a:moveTo>
              </a:path>
            </a:pathLst>
          </a:custGeom>
          <a:solidFill>
            <a:srgbClr val="EBBE20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32" name="Freeform 732"/>
          <p:cNvSpPr/>
          <p:nvPr/>
        </p:nvSpPr>
        <p:spPr>
          <a:xfrm>
            <a:off x="4052951" y="2986152"/>
            <a:ext cx="180594" cy="323214"/>
          </a:xfrm>
          <a:custGeom>
            <a:avLst/>
            <a:gdLst/>
            <a:ahLst/>
            <a:cxnLst/>
            <a:rect l="0" t="0" r="0" b="0"/>
            <a:pathLst>
              <a:path w="180594" h="323214">
                <a:moveTo>
                  <a:pt x="180085" y="14223"/>
                </a:moveTo>
                <a:lnTo>
                  <a:pt x="175895" y="3556"/>
                </a:lnTo>
                <a:lnTo>
                  <a:pt x="166370" y="0"/>
                </a:lnTo>
                <a:lnTo>
                  <a:pt x="156971" y="3556"/>
                </a:lnTo>
                <a:lnTo>
                  <a:pt x="152653" y="14223"/>
                </a:lnTo>
                <a:lnTo>
                  <a:pt x="151638" y="52196"/>
                </a:lnTo>
                <a:lnTo>
                  <a:pt x="152145" y="107822"/>
                </a:lnTo>
                <a:lnTo>
                  <a:pt x="153289" y="169418"/>
                </a:lnTo>
                <a:lnTo>
                  <a:pt x="153796" y="225044"/>
                </a:lnTo>
                <a:lnTo>
                  <a:pt x="152653" y="263016"/>
                </a:lnTo>
                <a:lnTo>
                  <a:pt x="146812" y="264033"/>
                </a:lnTo>
                <a:lnTo>
                  <a:pt x="136144" y="242189"/>
                </a:lnTo>
                <a:lnTo>
                  <a:pt x="121412" y="203708"/>
                </a:lnTo>
                <a:lnTo>
                  <a:pt x="102870" y="155194"/>
                </a:lnTo>
                <a:lnTo>
                  <a:pt x="81407" y="103123"/>
                </a:lnTo>
                <a:lnTo>
                  <a:pt x="57277" y="53975"/>
                </a:lnTo>
                <a:lnTo>
                  <a:pt x="31241" y="14223"/>
                </a:lnTo>
                <a:lnTo>
                  <a:pt x="18160" y="6858"/>
                </a:lnTo>
                <a:lnTo>
                  <a:pt x="8254" y="9016"/>
                </a:lnTo>
                <a:lnTo>
                  <a:pt x="2032" y="14732"/>
                </a:lnTo>
                <a:lnTo>
                  <a:pt x="0" y="18033"/>
                </a:lnTo>
                <a:lnTo>
                  <a:pt x="253" y="62229"/>
                </a:lnTo>
                <a:lnTo>
                  <a:pt x="762" y="109601"/>
                </a:lnTo>
                <a:lnTo>
                  <a:pt x="1396" y="159258"/>
                </a:lnTo>
                <a:lnTo>
                  <a:pt x="1651" y="209677"/>
                </a:lnTo>
                <a:lnTo>
                  <a:pt x="1270" y="260095"/>
                </a:lnTo>
                <a:lnTo>
                  <a:pt x="0" y="308990"/>
                </a:lnTo>
                <a:lnTo>
                  <a:pt x="4826" y="319658"/>
                </a:lnTo>
                <a:lnTo>
                  <a:pt x="15620" y="323214"/>
                </a:lnTo>
                <a:lnTo>
                  <a:pt x="26415" y="319658"/>
                </a:lnTo>
                <a:lnTo>
                  <a:pt x="31241" y="308990"/>
                </a:lnTo>
                <a:lnTo>
                  <a:pt x="32003" y="264159"/>
                </a:lnTo>
                <a:lnTo>
                  <a:pt x="33782" y="217677"/>
                </a:lnTo>
                <a:lnTo>
                  <a:pt x="35559" y="170688"/>
                </a:lnTo>
                <a:lnTo>
                  <a:pt x="36321" y="124206"/>
                </a:lnTo>
                <a:lnTo>
                  <a:pt x="35178" y="79375"/>
                </a:lnTo>
                <a:lnTo>
                  <a:pt x="54864" y="121665"/>
                </a:lnTo>
                <a:lnTo>
                  <a:pt x="75310" y="168402"/>
                </a:lnTo>
                <a:lnTo>
                  <a:pt x="95884" y="217043"/>
                </a:lnTo>
                <a:lnTo>
                  <a:pt x="115443" y="264795"/>
                </a:lnTo>
                <a:lnTo>
                  <a:pt x="133222" y="308990"/>
                </a:lnTo>
                <a:lnTo>
                  <a:pt x="137414" y="313816"/>
                </a:lnTo>
                <a:lnTo>
                  <a:pt x="143890" y="316610"/>
                </a:lnTo>
                <a:lnTo>
                  <a:pt x="151891" y="316483"/>
                </a:lnTo>
                <a:lnTo>
                  <a:pt x="160527" y="312801"/>
                </a:lnTo>
                <a:lnTo>
                  <a:pt x="172593" y="286639"/>
                </a:lnTo>
                <a:lnTo>
                  <a:pt x="178689" y="237870"/>
                </a:lnTo>
                <a:lnTo>
                  <a:pt x="180594" y="176402"/>
                </a:lnTo>
                <a:lnTo>
                  <a:pt x="180213" y="112014"/>
                </a:lnTo>
                <a:lnTo>
                  <a:pt x="179451" y="54737"/>
                </a:lnTo>
                <a:lnTo>
                  <a:pt x="180085" y="14223"/>
                </a:lnTo>
                <a:close/>
                <a:moveTo>
                  <a:pt x="-195326" y="3871848"/>
                </a:moveTo>
              </a:path>
            </a:pathLst>
          </a:custGeom>
          <a:noFill/>
          <a:ln w="9142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33" name="Freeform 733"/>
          <p:cNvSpPr/>
          <p:nvPr/>
        </p:nvSpPr>
        <p:spPr>
          <a:xfrm>
            <a:off x="4295775" y="2981325"/>
            <a:ext cx="199771" cy="313817"/>
          </a:xfrm>
          <a:custGeom>
            <a:avLst/>
            <a:gdLst/>
            <a:ahLst/>
            <a:cxnLst/>
            <a:rect l="0" t="0" r="0" b="0"/>
            <a:pathLst>
              <a:path w="199771" h="313817">
                <a:moveTo>
                  <a:pt x="93345" y="0"/>
                </a:moveTo>
                <a:lnTo>
                  <a:pt x="38100" y="31116"/>
                </a:lnTo>
                <a:lnTo>
                  <a:pt x="20446" y="65786"/>
                </a:lnTo>
                <a:lnTo>
                  <a:pt x="8635" y="107316"/>
                </a:lnTo>
                <a:lnTo>
                  <a:pt x="2032" y="151385"/>
                </a:lnTo>
                <a:lnTo>
                  <a:pt x="0" y="193548"/>
                </a:lnTo>
                <a:lnTo>
                  <a:pt x="1778" y="229490"/>
                </a:lnTo>
                <a:lnTo>
                  <a:pt x="6730" y="254890"/>
                </a:lnTo>
                <a:lnTo>
                  <a:pt x="31241" y="291339"/>
                </a:lnTo>
                <a:lnTo>
                  <a:pt x="74295" y="311023"/>
                </a:lnTo>
                <a:lnTo>
                  <a:pt x="124586" y="313817"/>
                </a:lnTo>
                <a:lnTo>
                  <a:pt x="170560" y="299847"/>
                </a:lnTo>
                <a:lnTo>
                  <a:pt x="192532" y="274321"/>
                </a:lnTo>
                <a:lnTo>
                  <a:pt x="199771" y="239522"/>
                </a:lnTo>
                <a:lnTo>
                  <a:pt x="192913" y="204090"/>
                </a:lnTo>
                <a:lnTo>
                  <a:pt x="139953" y="165354"/>
                </a:lnTo>
                <a:lnTo>
                  <a:pt x="139953" y="191390"/>
                </a:lnTo>
                <a:lnTo>
                  <a:pt x="165100" y="204471"/>
                </a:lnTo>
                <a:lnTo>
                  <a:pt x="170053" y="233935"/>
                </a:lnTo>
                <a:lnTo>
                  <a:pt x="159765" y="265558"/>
                </a:lnTo>
                <a:lnTo>
                  <a:pt x="139953" y="284861"/>
                </a:lnTo>
                <a:lnTo>
                  <a:pt x="118745" y="289941"/>
                </a:lnTo>
                <a:lnTo>
                  <a:pt x="96265" y="289560"/>
                </a:lnTo>
                <a:lnTo>
                  <a:pt x="52451" y="277368"/>
                </a:lnTo>
                <a:lnTo>
                  <a:pt x="27685" y="236729"/>
                </a:lnTo>
                <a:lnTo>
                  <a:pt x="25653" y="209678"/>
                </a:lnTo>
                <a:lnTo>
                  <a:pt x="25780" y="187706"/>
                </a:lnTo>
                <a:lnTo>
                  <a:pt x="32765" y="119761"/>
                </a:lnTo>
                <a:lnTo>
                  <a:pt x="43815" y="78995"/>
                </a:lnTo>
                <a:lnTo>
                  <a:pt x="61848" y="45212"/>
                </a:lnTo>
                <a:lnTo>
                  <a:pt x="88265" y="27560"/>
                </a:lnTo>
                <a:lnTo>
                  <a:pt x="124714" y="34545"/>
                </a:lnTo>
                <a:lnTo>
                  <a:pt x="127761" y="38609"/>
                </a:lnTo>
                <a:lnTo>
                  <a:pt x="142494" y="50928"/>
                </a:lnTo>
                <a:lnTo>
                  <a:pt x="147701" y="56897"/>
                </a:lnTo>
                <a:lnTo>
                  <a:pt x="151384" y="64516"/>
                </a:lnTo>
                <a:lnTo>
                  <a:pt x="159130" y="68199"/>
                </a:lnTo>
                <a:lnTo>
                  <a:pt x="166623" y="64516"/>
                </a:lnTo>
                <a:lnTo>
                  <a:pt x="170560" y="64516"/>
                </a:lnTo>
                <a:lnTo>
                  <a:pt x="178053" y="56897"/>
                </a:lnTo>
                <a:lnTo>
                  <a:pt x="151891" y="26671"/>
                </a:lnTo>
                <a:lnTo>
                  <a:pt x="132460" y="12192"/>
                </a:lnTo>
                <a:lnTo>
                  <a:pt x="93345" y="0"/>
                </a:lnTo>
                <a:close/>
                <a:moveTo>
                  <a:pt x="-419100" y="3876675"/>
                </a:moveTo>
              </a:path>
            </a:pathLst>
          </a:custGeom>
          <a:solidFill>
            <a:srgbClr val="EBBE20">
              <a:alpha val="100000"/>
            </a:srgbClr>
          </a:solidFill>
          <a:ln w="9142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34" name="Freeform 734"/>
          <p:cNvSpPr/>
          <p:nvPr/>
        </p:nvSpPr>
        <p:spPr>
          <a:xfrm>
            <a:off x="4300601" y="2986152"/>
            <a:ext cx="199770" cy="313689"/>
          </a:xfrm>
          <a:custGeom>
            <a:avLst/>
            <a:gdLst/>
            <a:ahLst/>
            <a:cxnLst/>
            <a:rect l="0" t="0" r="0" b="0"/>
            <a:pathLst>
              <a:path w="199770" h="313689">
                <a:moveTo>
                  <a:pt x="139953" y="165227"/>
                </a:moveTo>
                <a:lnTo>
                  <a:pt x="129285" y="169290"/>
                </a:lnTo>
                <a:lnTo>
                  <a:pt x="125729" y="178308"/>
                </a:lnTo>
                <a:lnTo>
                  <a:pt x="129285" y="187325"/>
                </a:lnTo>
                <a:lnTo>
                  <a:pt x="139953" y="191389"/>
                </a:lnTo>
                <a:lnTo>
                  <a:pt x="165100" y="204343"/>
                </a:lnTo>
                <a:lnTo>
                  <a:pt x="169926" y="233933"/>
                </a:lnTo>
                <a:lnTo>
                  <a:pt x="159765" y="265429"/>
                </a:lnTo>
                <a:lnTo>
                  <a:pt x="139953" y="284733"/>
                </a:lnTo>
                <a:lnTo>
                  <a:pt x="118745" y="289940"/>
                </a:lnTo>
                <a:lnTo>
                  <a:pt x="96139" y="289433"/>
                </a:lnTo>
                <a:lnTo>
                  <a:pt x="52324" y="277368"/>
                </a:lnTo>
                <a:lnTo>
                  <a:pt x="27558" y="236727"/>
                </a:lnTo>
                <a:lnTo>
                  <a:pt x="25527" y="209550"/>
                </a:lnTo>
                <a:lnTo>
                  <a:pt x="25653" y="187578"/>
                </a:lnTo>
                <a:lnTo>
                  <a:pt x="32765" y="119760"/>
                </a:lnTo>
                <a:lnTo>
                  <a:pt x="43814" y="78866"/>
                </a:lnTo>
                <a:lnTo>
                  <a:pt x="61849" y="45212"/>
                </a:lnTo>
                <a:lnTo>
                  <a:pt x="88264" y="27432"/>
                </a:lnTo>
                <a:lnTo>
                  <a:pt x="124714" y="34544"/>
                </a:lnTo>
                <a:lnTo>
                  <a:pt x="127762" y="38608"/>
                </a:lnTo>
                <a:lnTo>
                  <a:pt x="134746" y="44322"/>
                </a:lnTo>
                <a:lnTo>
                  <a:pt x="142366" y="50800"/>
                </a:lnTo>
                <a:lnTo>
                  <a:pt x="147574" y="56895"/>
                </a:lnTo>
                <a:lnTo>
                  <a:pt x="151383" y="64389"/>
                </a:lnTo>
                <a:lnTo>
                  <a:pt x="159003" y="68198"/>
                </a:lnTo>
                <a:lnTo>
                  <a:pt x="166624" y="64389"/>
                </a:lnTo>
                <a:lnTo>
                  <a:pt x="170433" y="64389"/>
                </a:lnTo>
                <a:lnTo>
                  <a:pt x="178053" y="56895"/>
                </a:lnTo>
                <a:lnTo>
                  <a:pt x="151891" y="26670"/>
                </a:lnTo>
                <a:lnTo>
                  <a:pt x="93345" y="0"/>
                </a:lnTo>
                <a:lnTo>
                  <a:pt x="62102" y="7746"/>
                </a:lnTo>
                <a:lnTo>
                  <a:pt x="20320" y="65658"/>
                </a:lnTo>
                <a:lnTo>
                  <a:pt x="8635" y="107188"/>
                </a:lnTo>
                <a:lnTo>
                  <a:pt x="2032" y="151257"/>
                </a:lnTo>
                <a:lnTo>
                  <a:pt x="0" y="193420"/>
                </a:lnTo>
                <a:lnTo>
                  <a:pt x="1777" y="229489"/>
                </a:lnTo>
                <a:lnTo>
                  <a:pt x="6731" y="254889"/>
                </a:lnTo>
                <a:lnTo>
                  <a:pt x="31114" y="291338"/>
                </a:lnTo>
                <a:lnTo>
                  <a:pt x="74295" y="310895"/>
                </a:lnTo>
                <a:lnTo>
                  <a:pt x="124459" y="313689"/>
                </a:lnTo>
                <a:lnTo>
                  <a:pt x="170433" y="299720"/>
                </a:lnTo>
                <a:lnTo>
                  <a:pt x="192532" y="274320"/>
                </a:lnTo>
                <a:lnTo>
                  <a:pt x="199770" y="239521"/>
                </a:lnTo>
                <a:lnTo>
                  <a:pt x="192913" y="203962"/>
                </a:lnTo>
                <a:lnTo>
                  <a:pt x="172720" y="176402"/>
                </a:lnTo>
                <a:lnTo>
                  <a:pt x="139953" y="165227"/>
                </a:lnTo>
                <a:close/>
                <a:moveTo>
                  <a:pt x="-593980" y="3871848"/>
                </a:moveTo>
              </a:path>
            </a:pathLst>
          </a:custGeom>
          <a:noFill/>
          <a:ln w="9144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35" name="Rectangle 735"/>
          <p:cNvSpPr/>
          <p:nvPr/>
        </p:nvSpPr>
        <p:spPr>
          <a:xfrm>
            <a:off x="11418951" y="6397333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24</a:t>
            </a:r>
          </a:p>
        </p:txBody>
      </p:sp>
      <p:sp>
        <p:nvSpPr>
          <p:cNvPr id="736" name="Rectangle 736"/>
          <p:cNvSpPr/>
          <p:nvPr/>
        </p:nvSpPr>
        <p:spPr>
          <a:xfrm>
            <a:off x="630555" y="459812"/>
            <a:ext cx="4971027" cy="112794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A7A8A7"/>
                </a:solidFill>
                <a:latin typeface="Arial"/>
              </a:rPr>
              <a:t>Ti</a:t>
            </a:r>
            <a:r>
              <a:rPr lang="fr-FR" sz="3604" b="1" i="0" spc="936" baseline="0" dirty="0">
                <a:solidFill>
                  <a:srgbClr val="A7A8A7"/>
                </a:solidFill>
                <a:latin typeface="Arial"/>
              </a:rPr>
              <a:t>p</a:t>
            </a:r>
            <a:r>
              <a:rPr lang="fr-FR" sz="3604" b="1" i="0" spc="0" baseline="0" dirty="0">
                <a:solidFill>
                  <a:srgbClr val="A7A8A7"/>
                </a:solidFill>
                <a:latin typeface="Arial"/>
              </a:rPr>
              <a:t>no.3</a:t>
            </a:r>
          </a:p>
          <a:p>
            <a:pPr marL="0">
              <a:lnSpc>
                <a:spcPts val="4058"/>
              </a:lnSpc>
            </a:pP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Communicat</a:t>
            </a:r>
            <a:r>
              <a:rPr lang="fr-FR" sz="3604" b="1" i="0" spc="932" baseline="0" dirty="0">
                <a:solidFill>
                  <a:srgbClr val="466CAD"/>
                </a:solidFill>
                <a:latin typeface="Arial"/>
              </a:rPr>
              <a:t>e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properly</a:t>
            </a:r>
          </a:p>
        </p:txBody>
      </p:sp>
      <p:sp>
        <p:nvSpPr>
          <p:cNvPr id="737" name="Rectangle 737"/>
          <p:cNvSpPr/>
          <p:nvPr/>
        </p:nvSpPr>
        <p:spPr>
          <a:xfrm>
            <a:off x="7066026" y="2871999"/>
            <a:ext cx="3680976" cy="78084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404" b="0" i="0" spc="0" baseline="0" dirty="0">
                <a:solidFill>
                  <a:srgbClr val="3660A1"/>
                </a:solidFill>
                <a:latin typeface="Arial"/>
              </a:rPr>
              <a:t>Alway</a:t>
            </a:r>
            <a:r>
              <a:rPr lang="fr-FR" sz="2404" b="0" i="0" spc="689" baseline="0" dirty="0">
                <a:solidFill>
                  <a:srgbClr val="3660A1"/>
                </a:solidFill>
                <a:latin typeface="Arial"/>
              </a:rPr>
              <a:t>s</a:t>
            </a:r>
            <a:r>
              <a:rPr lang="fr-FR" sz="2404" b="0" i="0" spc="0" baseline="0" dirty="0">
                <a:solidFill>
                  <a:srgbClr val="3660A1"/>
                </a:solidFill>
                <a:latin typeface="Arial"/>
              </a:rPr>
              <a:t>le</a:t>
            </a:r>
            <a:r>
              <a:rPr lang="fr-FR" sz="2404" b="0" i="0" spc="634" baseline="0" dirty="0">
                <a:solidFill>
                  <a:srgbClr val="3660A1"/>
                </a:solidFill>
                <a:latin typeface="Arial"/>
              </a:rPr>
              <a:t>t</a:t>
            </a:r>
            <a:r>
              <a:rPr lang="fr-FR" sz="2404" b="0" i="0" spc="0" baseline="0" dirty="0">
                <a:solidFill>
                  <a:srgbClr val="3660A1"/>
                </a:solidFill>
                <a:latin typeface="Arial"/>
              </a:rPr>
              <a:t>your interviewer </a:t>
            </a:r>
          </a:p>
          <a:p>
            <a:pPr marL="0">
              <a:lnSpc>
                <a:spcPts val="2930"/>
              </a:lnSpc>
            </a:pPr>
            <a:r>
              <a:rPr lang="fr-FR" sz="2402" b="0" i="0" spc="0" baseline="0" dirty="0">
                <a:solidFill>
                  <a:srgbClr val="3660A1"/>
                </a:solidFill>
                <a:latin typeface="Arial"/>
              </a:rPr>
              <a:t>kno</a:t>
            </a:r>
            <a:r>
              <a:rPr lang="fr-FR" sz="2402" b="0" i="0" spc="703" baseline="0" dirty="0">
                <a:solidFill>
                  <a:srgbClr val="3660A1"/>
                </a:solidFill>
                <a:latin typeface="Arial"/>
              </a:rPr>
              <a:t>w</a:t>
            </a:r>
            <a:r>
              <a:rPr lang="fr-FR" sz="2402" b="0" i="0" spc="0" baseline="0" dirty="0">
                <a:solidFill>
                  <a:srgbClr val="3660A1"/>
                </a:solidFill>
                <a:latin typeface="Arial"/>
              </a:rPr>
              <a:t>about</a:t>
            </a:r>
          </a:p>
        </p:txBody>
      </p:sp>
      <p:sp>
        <p:nvSpPr>
          <p:cNvPr id="738" name="Rectangle 738"/>
          <p:cNvSpPr/>
          <p:nvPr/>
        </p:nvSpPr>
        <p:spPr>
          <a:xfrm>
            <a:off x="7066026" y="4102987"/>
            <a:ext cx="4056208" cy="214408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402" b="0" i="0" spc="0" baseline="0" dirty="0">
                <a:solidFill>
                  <a:srgbClr val="555555"/>
                </a:solidFill>
                <a:latin typeface="Arial"/>
              </a:rPr>
              <a:t>Wha</a:t>
            </a:r>
            <a:r>
              <a:rPr lang="fr-FR" sz="2402" b="0" i="0" spc="622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2402" b="0" i="0" spc="0" baseline="0" dirty="0">
                <a:solidFill>
                  <a:srgbClr val="555555"/>
                </a:solidFill>
                <a:latin typeface="Arial"/>
              </a:rPr>
              <a:t>are yo</a:t>
            </a:r>
            <a:r>
              <a:rPr lang="fr-FR" sz="2402" b="0" i="0" spc="647" baseline="0" dirty="0">
                <a:solidFill>
                  <a:srgbClr val="555555"/>
                </a:solidFill>
                <a:latin typeface="Arial"/>
              </a:rPr>
              <a:t>u</a:t>
            </a:r>
            <a:r>
              <a:rPr lang="fr-FR" sz="2402" b="0" i="0" spc="0" baseline="0" dirty="0">
                <a:solidFill>
                  <a:srgbClr val="555555"/>
                </a:solidFill>
                <a:latin typeface="Arial"/>
              </a:rPr>
              <a:t>doing</a:t>
            </a:r>
            <a:r>
              <a:rPr lang="fr-FR" sz="2402" b="0" i="0" spc="689" baseline="0" dirty="0">
                <a:solidFill>
                  <a:srgbClr val="555555"/>
                </a:solidFill>
                <a:latin typeface="Arial"/>
              </a:rPr>
              <a:t>?</a:t>
            </a:r>
            <a:r>
              <a:rPr lang="fr-FR" sz="2402" b="0" i="0" spc="0" baseline="0" dirty="0">
                <a:solidFill>
                  <a:srgbClr val="555555"/>
                </a:solidFill>
                <a:latin typeface="Arial"/>
              </a:rPr>
              <a:t>Why? </a:t>
            </a:r>
          </a:p>
          <a:p>
            <a:pPr marL="0">
              <a:lnSpc>
                <a:spcPts val="3453"/>
              </a:lnSpc>
            </a:pPr>
            <a:r>
              <a:rPr lang="fr-FR" sz="2404" b="0" i="0" spc="0" baseline="0" dirty="0">
                <a:solidFill>
                  <a:srgbClr val="555555"/>
                </a:solidFill>
                <a:latin typeface="Arial"/>
              </a:rPr>
              <a:t>What are you planning to do? </a:t>
            </a:r>
          </a:p>
          <a:p>
            <a:pPr marL="0">
              <a:lnSpc>
                <a:spcPts val="3529"/>
              </a:lnSpc>
            </a:pPr>
            <a:r>
              <a:rPr lang="fr-FR" sz="2404" b="0" i="0" spc="0" baseline="0" dirty="0">
                <a:solidFill>
                  <a:srgbClr val="555555"/>
                </a:solidFill>
                <a:latin typeface="Arial"/>
              </a:rPr>
              <a:t>Ho</a:t>
            </a:r>
            <a:r>
              <a:rPr lang="fr-FR" sz="2404" b="0" i="0" spc="659" baseline="0" dirty="0">
                <a:solidFill>
                  <a:srgbClr val="555555"/>
                </a:solidFill>
                <a:latin typeface="Arial"/>
              </a:rPr>
              <a:t>w</a:t>
            </a:r>
            <a:r>
              <a:rPr lang="fr-FR" sz="2404" b="0" i="0" spc="0" baseline="0" dirty="0">
                <a:solidFill>
                  <a:srgbClr val="555555"/>
                </a:solidFill>
                <a:latin typeface="Arial"/>
              </a:rPr>
              <a:t>do yo</a:t>
            </a:r>
            <a:r>
              <a:rPr lang="fr-FR" sz="2404" b="0" i="0" spc="667" baseline="0" dirty="0">
                <a:solidFill>
                  <a:srgbClr val="555555"/>
                </a:solidFill>
                <a:latin typeface="Arial"/>
              </a:rPr>
              <a:t>u</a:t>
            </a:r>
            <a:r>
              <a:rPr lang="fr-FR" sz="2404" b="0" i="0" spc="0" baseline="0" dirty="0">
                <a:solidFill>
                  <a:srgbClr val="555555"/>
                </a:solidFill>
                <a:latin typeface="Arial"/>
              </a:rPr>
              <a:t>pla</a:t>
            </a:r>
            <a:r>
              <a:rPr lang="fr-FR" sz="2404" b="0" i="0" spc="644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2404" b="0" i="0" spc="0" baseline="0" dirty="0">
                <a:solidFill>
                  <a:srgbClr val="555555"/>
                </a:solidFill>
                <a:latin typeface="Arial"/>
              </a:rPr>
              <a:t>to d</a:t>
            </a:r>
            <a:r>
              <a:rPr lang="fr-FR" sz="2404" b="0" i="0" spc="625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2404" b="0" i="0" spc="0" baseline="0" dirty="0">
                <a:solidFill>
                  <a:srgbClr val="555555"/>
                </a:solidFill>
                <a:latin typeface="Arial"/>
              </a:rPr>
              <a:t>so?</a:t>
            </a:r>
          </a:p>
          <a:p>
            <a:pPr marL="0">
              <a:lnSpc>
                <a:spcPts val="3755"/>
              </a:lnSpc>
            </a:pPr>
            <a:r>
              <a:rPr lang="fr-FR" sz="2404" b="0" i="0" spc="0" baseline="0" dirty="0">
                <a:solidFill>
                  <a:srgbClr val="555555"/>
                </a:solidFill>
                <a:latin typeface="Arial"/>
              </a:rPr>
              <a:t>Wha</a:t>
            </a:r>
            <a:r>
              <a:rPr lang="fr-FR" sz="2404" b="0" i="0" spc="643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2404" b="0" i="0" spc="0" baseline="0" dirty="0">
                <a:solidFill>
                  <a:srgbClr val="555555"/>
                </a:solidFill>
                <a:latin typeface="Arial"/>
              </a:rPr>
              <a:t>does the result o</a:t>
            </a:r>
            <a:r>
              <a:rPr lang="fr-FR" sz="2404" b="0" i="0" spc="624" baseline="0" dirty="0">
                <a:solidFill>
                  <a:srgbClr val="555555"/>
                </a:solidFill>
                <a:latin typeface="Arial"/>
              </a:rPr>
              <a:t>f</a:t>
            </a:r>
            <a:r>
              <a:rPr lang="fr-FR" sz="2404" b="0" i="0" spc="0" baseline="0" dirty="0">
                <a:solidFill>
                  <a:srgbClr val="555555"/>
                </a:solidFill>
                <a:latin typeface="Arial"/>
              </a:rPr>
              <a:t>your </a:t>
            </a:r>
          </a:p>
          <a:p>
            <a:pPr marL="0">
              <a:lnSpc>
                <a:spcPts val="2929"/>
              </a:lnSpc>
            </a:pPr>
            <a:r>
              <a:rPr lang="fr-FR" sz="2402" b="0" i="0" spc="0" baseline="0" dirty="0">
                <a:solidFill>
                  <a:srgbClr val="555555"/>
                </a:solidFill>
                <a:latin typeface="Arial"/>
              </a:rPr>
              <a:t>lon</a:t>
            </a:r>
            <a:r>
              <a:rPr lang="fr-FR" sz="2402" b="0" i="0" spc="637" baseline="0" dirty="0">
                <a:solidFill>
                  <a:srgbClr val="555555"/>
                </a:solidFill>
                <a:latin typeface="Arial"/>
              </a:rPr>
              <a:t>g</a:t>
            </a:r>
            <a:r>
              <a:rPr lang="fr-FR" sz="2402" b="0" i="0" spc="0" baseline="0" dirty="0">
                <a:solidFill>
                  <a:srgbClr val="555555"/>
                </a:solidFill>
                <a:latin typeface="Arial"/>
              </a:rPr>
              <a:t>calculation</a:t>
            </a:r>
            <a:r>
              <a:rPr lang="fr-FR" sz="2402" b="0" i="0" spc="665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2402" b="0" i="0" spc="0" baseline="0" dirty="0">
                <a:solidFill>
                  <a:srgbClr val="555555"/>
                </a:solidFill>
                <a:latin typeface="Arial"/>
              </a:rPr>
              <a:t>mean?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9" name="Freeform 739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40" name="Freeform 740"/>
          <p:cNvSpPr/>
          <p:nvPr/>
        </p:nvSpPr>
        <p:spPr>
          <a:xfrm>
            <a:off x="9248775" y="666750"/>
            <a:ext cx="2314447" cy="2323720"/>
          </a:xfrm>
          <a:custGeom>
            <a:avLst/>
            <a:gdLst/>
            <a:ahLst/>
            <a:cxnLst/>
            <a:rect l="0" t="0" r="0" b="0"/>
            <a:pathLst>
              <a:path w="2314447" h="2323720">
                <a:moveTo>
                  <a:pt x="1157223" y="0"/>
                </a:moveTo>
                <a:lnTo>
                  <a:pt x="1109471" y="1016"/>
                </a:lnTo>
                <a:lnTo>
                  <a:pt x="1062355" y="3810"/>
                </a:lnTo>
                <a:lnTo>
                  <a:pt x="1015618" y="8636"/>
                </a:lnTo>
                <a:lnTo>
                  <a:pt x="969518" y="15241"/>
                </a:lnTo>
                <a:lnTo>
                  <a:pt x="924052" y="23622"/>
                </a:lnTo>
                <a:lnTo>
                  <a:pt x="879093" y="33783"/>
                </a:lnTo>
                <a:lnTo>
                  <a:pt x="834897" y="45593"/>
                </a:lnTo>
                <a:lnTo>
                  <a:pt x="791464" y="59183"/>
                </a:lnTo>
                <a:lnTo>
                  <a:pt x="748792" y="74422"/>
                </a:lnTo>
                <a:lnTo>
                  <a:pt x="706755" y="91314"/>
                </a:lnTo>
                <a:lnTo>
                  <a:pt x="665733" y="109729"/>
                </a:lnTo>
                <a:lnTo>
                  <a:pt x="625475" y="129667"/>
                </a:lnTo>
                <a:lnTo>
                  <a:pt x="586105" y="151130"/>
                </a:lnTo>
                <a:lnTo>
                  <a:pt x="547623" y="174117"/>
                </a:lnTo>
                <a:lnTo>
                  <a:pt x="510285" y="198374"/>
                </a:lnTo>
                <a:lnTo>
                  <a:pt x="473836" y="224155"/>
                </a:lnTo>
                <a:lnTo>
                  <a:pt x="438404" y="251334"/>
                </a:lnTo>
                <a:lnTo>
                  <a:pt x="404114" y="279654"/>
                </a:lnTo>
                <a:lnTo>
                  <a:pt x="370967" y="309372"/>
                </a:lnTo>
                <a:lnTo>
                  <a:pt x="338963" y="340360"/>
                </a:lnTo>
                <a:lnTo>
                  <a:pt x="308102" y="372491"/>
                </a:lnTo>
                <a:lnTo>
                  <a:pt x="278638" y="405766"/>
                </a:lnTo>
                <a:lnTo>
                  <a:pt x="250317" y="440183"/>
                </a:lnTo>
                <a:lnTo>
                  <a:pt x="223266" y="475742"/>
                </a:lnTo>
                <a:lnTo>
                  <a:pt x="197611" y="512318"/>
                </a:lnTo>
                <a:lnTo>
                  <a:pt x="173355" y="549910"/>
                </a:lnTo>
                <a:lnTo>
                  <a:pt x="150494" y="588391"/>
                </a:lnTo>
                <a:lnTo>
                  <a:pt x="129158" y="627889"/>
                </a:lnTo>
                <a:lnTo>
                  <a:pt x="109346" y="668402"/>
                </a:lnTo>
                <a:lnTo>
                  <a:pt x="90931" y="709677"/>
                </a:lnTo>
                <a:lnTo>
                  <a:pt x="74168" y="751714"/>
                </a:lnTo>
                <a:lnTo>
                  <a:pt x="59055" y="794640"/>
                </a:lnTo>
                <a:lnTo>
                  <a:pt x="45466" y="838328"/>
                </a:lnTo>
                <a:lnTo>
                  <a:pt x="33655" y="882650"/>
                </a:lnTo>
                <a:lnTo>
                  <a:pt x="23494" y="927735"/>
                </a:lnTo>
                <a:lnTo>
                  <a:pt x="15113" y="973455"/>
                </a:lnTo>
                <a:lnTo>
                  <a:pt x="8635" y="1019684"/>
                </a:lnTo>
                <a:lnTo>
                  <a:pt x="3809" y="1066547"/>
                </a:lnTo>
                <a:lnTo>
                  <a:pt x="1016" y="1113917"/>
                </a:lnTo>
                <a:lnTo>
                  <a:pt x="0" y="1161797"/>
                </a:lnTo>
                <a:lnTo>
                  <a:pt x="1016" y="1209803"/>
                </a:lnTo>
                <a:lnTo>
                  <a:pt x="3809" y="1257173"/>
                </a:lnTo>
                <a:lnTo>
                  <a:pt x="8635" y="1304036"/>
                </a:lnTo>
                <a:lnTo>
                  <a:pt x="15113" y="1350265"/>
                </a:lnTo>
                <a:lnTo>
                  <a:pt x="23494" y="1395985"/>
                </a:lnTo>
                <a:lnTo>
                  <a:pt x="33655" y="1441070"/>
                </a:lnTo>
                <a:lnTo>
                  <a:pt x="45466" y="1485392"/>
                </a:lnTo>
                <a:lnTo>
                  <a:pt x="59055" y="1529080"/>
                </a:lnTo>
                <a:lnTo>
                  <a:pt x="74168" y="1572006"/>
                </a:lnTo>
                <a:lnTo>
                  <a:pt x="90931" y="1614043"/>
                </a:lnTo>
                <a:lnTo>
                  <a:pt x="109346" y="1655318"/>
                </a:lnTo>
                <a:lnTo>
                  <a:pt x="129158" y="1695831"/>
                </a:lnTo>
                <a:lnTo>
                  <a:pt x="150494" y="1735329"/>
                </a:lnTo>
                <a:lnTo>
                  <a:pt x="173355" y="1773810"/>
                </a:lnTo>
                <a:lnTo>
                  <a:pt x="197611" y="1811402"/>
                </a:lnTo>
                <a:lnTo>
                  <a:pt x="223266" y="1847978"/>
                </a:lnTo>
                <a:lnTo>
                  <a:pt x="250317" y="1883537"/>
                </a:lnTo>
                <a:lnTo>
                  <a:pt x="278638" y="1917954"/>
                </a:lnTo>
                <a:lnTo>
                  <a:pt x="308102" y="1951229"/>
                </a:lnTo>
                <a:lnTo>
                  <a:pt x="338963" y="1983360"/>
                </a:lnTo>
                <a:lnTo>
                  <a:pt x="370967" y="2014347"/>
                </a:lnTo>
                <a:lnTo>
                  <a:pt x="404114" y="2044066"/>
                </a:lnTo>
                <a:lnTo>
                  <a:pt x="438404" y="2072386"/>
                </a:lnTo>
                <a:lnTo>
                  <a:pt x="473836" y="2099565"/>
                </a:lnTo>
                <a:lnTo>
                  <a:pt x="510285" y="2125346"/>
                </a:lnTo>
                <a:lnTo>
                  <a:pt x="547623" y="2149603"/>
                </a:lnTo>
                <a:lnTo>
                  <a:pt x="586105" y="2172590"/>
                </a:lnTo>
                <a:lnTo>
                  <a:pt x="625475" y="2194053"/>
                </a:lnTo>
                <a:lnTo>
                  <a:pt x="665733" y="2213991"/>
                </a:lnTo>
                <a:lnTo>
                  <a:pt x="706755" y="2232406"/>
                </a:lnTo>
                <a:lnTo>
                  <a:pt x="748792" y="2249297"/>
                </a:lnTo>
                <a:lnTo>
                  <a:pt x="791464" y="2264537"/>
                </a:lnTo>
                <a:lnTo>
                  <a:pt x="834897" y="2277999"/>
                </a:lnTo>
                <a:lnTo>
                  <a:pt x="879093" y="2289937"/>
                </a:lnTo>
                <a:lnTo>
                  <a:pt x="924052" y="2300097"/>
                </a:lnTo>
                <a:lnTo>
                  <a:pt x="969518" y="2308479"/>
                </a:lnTo>
                <a:lnTo>
                  <a:pt x="1015618" y="2315084"/>
                </a:lnTo>
                <a:lnTo>
                  <a:pt x="1062355" y="2319910"/>
                </a:lnTo>
                <a:lnTo>
                  <a:pt x="1109471" y="2322704"/>
                </a:lnTo>
                <a:lnTo>
                  <a:pt x="1157223" y="2323720"/>
                </a:lnTo>
                <a:lnTo>
                  <a:pt x="1204976" y="2322704"/>
                </a:lnTo>
                <a:lnTo>
                  <a:pt x="1252093" y="2319910"/>
                </a:lnTo>
                <a:lnTo>
                  <a:pt x="1298829" y="2315084"/>
                </a:lnTo>
                <a:lnTo>
                  <a:pt x="1344930" y="2308479"/>
                </a:lnTo>
                <a:lnTo>
                  <a:pt x="1390395" y="2300097"/>
                </a:lnTo>
                <a:lnTo>
                  <a:pt x="1435354" y="2289937"/>
                </a:lnTo>
                <a:lnTo>
                  <a:pt x="1479550" y="2277999"/>
                </a:lnTo>
                <a:lnTo>
                  <a:pt x="1522983" y="2264537"/>
                </a:lnTo>
                <a:lnTo>
                  <a:pt x="1565656" y="2249297"/>
                </a:lnTo>
                <a:lnTo>
                  <a:pt x="1607693" y="2232406"/>
                </a:lnTo>
                <a:lnTo>
                  <a:pt x="1648714" y="2213991"/>
                </a:lnTo>
                <a:lnTo>
                  <a:pt x="1688972" y="2194053"/>
                </a:lnTo>
                <a:lnTo>
                  <a:pt x="1728343" y="2172590"/>
                </a:lnTo>
                <a:lnTo>
                  <a:pt x="1766823" y="2149603"/>
                </a:lnTo>
                <a:lnTo>
                  <a:pt x="1804161" y="2125346"/>
                </a:lnTo>
                <a:lnTo>
                  <a:pt x="1840610" y="2099565"/>
                </a:lnTo>
                <a:lnTo>
                  <a:pt x="1876043" y="2072386"/>
                </a:lnTo>
                <a:lnTo>
                  <a:pt x="1910333" y="2044066"/>
                </a:lnTo>
                <a:lnTo>
                  <a:pt x="1943481" y="2014347"/>
                </a:lnTo>
                <a:lnTo>
                  <a:pt x="1975484" y="1983360"/>
                </a:lnTo>
                <a:lnTo>
                  <a:pt x="2006345" y="1951229"/>
                </a:lnTo>
                <a:lnTo>
                  <a:pt x="2035809" y="1917954"/>
                </a:lnTo>
                <a:lnTo>
                  <a:pt x="2064131" y="1883537"/>
                </a:lnTo>
                <a:lnTo>
                  <a:pt x="2091181" y="1847978"/>
                </a:lnTo>
                <a:lnTo>
                  <a:pt x="2116835" y="1811402"/>
                </a:lnTo>
                <a:lnTo>
                  <a:pt x="2141093" y="1773810"/>
                </a:lnTo>
                <a:lnTo>
                  <a:pt x="2163953" y="1735329"/>
                </a:lnTo>
                <a:lnTo>
                  <a:pt x="2185289" y="1695831"/>
                </a:lnTo>
                <a:lnTo>
                  <a:pt x="2205101" y="1655318"/>
                </a:lnTo>
                <a:lnTo>
                  <a:pt x="2223516" y="1614043"/>
                </a:lnTo>
                <a:lnTo>
                  <a:pt x="2240280" y="1572006"/>
                </a:lnTo>
                <a:lnTo>
                  <a:pt x="2255393" y="1529080"/>
                </a:lnTo>
                <a:lnTo>
                  <a:pt x="2268981" y="1485392"/>
                </a:lnTo>
                <a:lnTo>
                  <a:pt x="2280793" y="1441070"/>
                </a:lnTo>
                <a:lnTo>
                  <a:pt x="2290953" y="1395985"/>
                </a:lnTo>
                <a:lnTo>
                  <a:pt x="2299334" y="1350265"/>
                </a:lnTo>
                <a:lnTo>
                  <a:pt x="2305811" y="1304036"/>
                </a:lnTo>
                <a:lnTo>
                  <a:pt x="2310638" y="1257173"/>
                </a:lnTo>
                <a:lnTo>
                  <a:pt x="2313431" y="1209803"/>
                </a:lnTo>
                <a:lnTo>
                  <a:pt x="2314447" y="1161797"/>
                </a:lnTo>
                <a:lnTo>
                  <a:pt x="2313431" y="1113917"/>
                </a:lnTo>
                <a:lnTo>
                  <a:pt x="2310638" y="1066547"/>
                </a:lnTo>
                <a:lnTo>
                  <a:pt x="2305811" y="1019684"/>
                </a:lnTo>
                <a:lnTo>
                  <a:pt x="2299334" y="973455"/>
                </a:lnTo>
                <a:lnTo>
                  <a:pt x="2290953" y="927735"/>
                </a:lnTo>
                <a:lnTo>
                  <a:pt x="2280793" y="882650"/>
                </a:lnTo>
                <a:lnTo>
                  <a:pt x="2268981" y="838328"/>
                </a:lnTo>
                <a:lnTo>
                  <a:pt x="2255393" y="794640"/>
                </a:lnTo>
                <a:lnTo>
                  <a:pt x="2240280" y="751714"/>
                </a:lnTo>
                <a:lnTo>
                  <a:pt x="2223516" y="709677"/>
                </a:lnTo>
                <a:lnTo>
                  <a:pt x="2205101" y="668402"/>
                </a:lnTo>
                <a:lnTo>
                  <a:pt x="2185289" y="627889"/>
                </a:lnTo>
                <a:lnTo>
                  <a:pt x="2163953" y="588391"/>
                </a:lnTo>
                <a:lnTo>
                  <a:pt x="2141093" y="549910"/>
                </a:lnTo>
                <a:lnTo>
                  <a:pt x="2116835" y="512318"/>
                </a:lnTo>
                <a:lnTo>
                  <a:pt x="2091181" y="475742"/>
                </a:lnTo>
                <a:lnTo>
                  <a:pt x="2064131" y="440183"/>
                </a:lnTo>
                <a:lnTo>
                  <a:pt x="2035809" y="405766"/>
                </a:lnTo>
                <a:lnTo>
                  <a:pt x="2006345" y="372491"/>
                </a:lnTo>
                <a:lnTo>
                  <a:pt x="1975484" y="340360"/>
                </a:lnTo>
                <a:lnTo>
                  <a:pt x="1943481" y="309372"/>
                </a:lnTo>
                <a:lnTo>
                  <a:pt x="1910333" y="279654"/>
                </a:lnTo>
                <a:lnTo>
                  <a:pt x="1876043" y="251334"/>
                </a:lnTo>
                <a:lnTo>
                  <a:pt x="1840610" y="224155"/>
                </a:lnTo>
                <a:lnTo>
                  <a:pt x="1804161" y="198374"/>
                </a:lnTo>
                <a:lnTo>
                  <a:pt x="1766823" y="174117"/>
                </a:lnTo>
                <a:lnTo>
                  <a:pt x="1728343" y="151130"/>
                </a:lnTo>
                <a:lnTo>
                  <a:pt x="1688972" y="129667"/>
                </a:lnTo>
                <a:lnTo>
                  <a:pt x="1648714" y="109729"/>
                </a:lnTo>
                <a:lnTo>
                  <a:pt x="1607693" y="91314"/>
                </a:lnTo>
                <a:lnTo>
                  <a:pt x="1565656" y="74422"/>
                </a:lnTo>
                <a:lnTo>
                  <a:pt x="1522983" y="59183"/>
                </a:lnTo>
                <a:lnTo>
                  <a:pt x="1479550" y="45593"/>
                </a:lnTo>
                <a:lnTo>
                  <a:pt x="1435354" y="33783"/>
                </a:lnTo>
                <a:lnTo>
                  <a:pt x="1390395" y="23622"/>
                </a:lnTo>
                <a:lnTo>
                  <a:pt x="1344930" y="15241"/>
                </a:lnTo>
                <a:lnTo>
                  <a:pt x="1298829" y="8636"/>
                </a:lnTo>
                <a:lnTo>
                  <a:pt x="1252093" y="3810"/>
                </a:lnTo>
                <a:lnTo>
                  <a:pt x="1204976" y="1016"/>
                </a:lnTo>
                <a:lnTo>
                  <a:pt x="1157223" y="0"/>
                </a:lnTo>
                <a:close/>
                <a:moveTo>
                  <a:pt x="-3057525" y="6191250"/>
                </a:moveTo>
              </a:path>
            </a:pathLst>
          </a:custGeom>
          <a:solidFill>
            <a:srgbClr val="D2DFEF">
              <a:alpha val="6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741" name="Picture 741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820150" y="771525"/>
            <a:ext cx="2314575" cy="2314575"/>
          </a:xfrm>
          <a:prstGeom prst="rect">
            <a:avLst/>
          </a:prstGeom>
          <a:noFill/>
        </p:spPr>
      </p:pic>
      <p:sp>
        <p:nvSpPr>
          <p:cNvPr id="742" name="Freeform 742"/>
          <p:cNvSpPr/>
          <p:nvPr/>
        </p:nvSpPr>
        <p:spPr>
          <a:xfrm>
            <a:off x="647700" y="1619279"/>
            <a:ext cx="1094866" cy="66393"/>
          </a:xfrm>
          <a:custGeom>
            <a:avLst/>
            <a:gdLst/>
            <a:ahLst/>
            <a:cxnLst/>
            <a:rect l="0" t="0" r="0" b="0"/>
            <a:pathLst>
              <a:path w="1094866" h="66393">
                <a:moveTo>
                  <a:pt x="0" y="66393"/>
                </a:moveTo>
                <a:lnTo>
                  <a:pt x="1094866" y="66393"/>
                </a:lnTo>
                <a:lnTo>
                  <a:pt x="1094866" y="0"/>
                </a:lnTo>
                <a:lnTo>
                  <a:pt x="0" y="0"/>
                </a:lnTo>
                <a:lnTo>
                  <a:pt x="0" y="66393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43" name="Freeform 743"/>
          <p:cNvSpPr/>
          <p:nvPr/>
        </p:nvSpPr>
        <p:spPr>
          <a:xfrm>
            <a:off x="652462" y="1623978"/>
            <a:ext cx="1094867" cy="66393"/>
          </a:xfrm>
          <a:custGeom>
            <a:avLst/>
            <a:gdLst/>
            <a:ahLst/>
            <a:cxnLst/>
            <a:rect l="0" t="0" r="0" b="0"/>
            <a:pathLst>
              <a:path w="1094867" h="66393">
                <a:moveTo>
                  <a:pt x="0" y="66393"/>
                </a:moveTo>
                <a:lnTo>
                  <a:pt x="1094867" y="66393"/>
                </a:lnTo>
                <a:lnTo>
                  <a:pt x="1094867" y="0"/>
                </a:lnTo>
                <a:lnTo>
                  <a:pt x="0" y="0"/>
                </a:lnTo>
                <a:lnTo>
                  <a:pt x="0" y="66393"/>
                </a:lnTo>
                <a:close/>
              </a:path>
            </a:pathLst>
          </a:custGeom>
          <a:noFill/>
          <a:ln w="10667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44" name="Freeform 744"/>
          <p:cNvSpPr/>
          <p:nvPr/>
        </p:nvSpPr>
        <p:spPr>
          <a:xfrm>
            <a:off x="628650" y="2628900"/>
            <a:ext cx="132969" cy="4229080"/>
          </a:xfrm>
          <a:custGeom>
            <a:avLst/>
            <a:gdLst/>
            <a:ahLst/>
            <a:cxnLst/>
            <a:rect l="0" t="0" r="0" b="0"/>
            <a:pathLst>
              <a:path w="132969" h="4229080">
                <a:moveTo>
                  <a:pt x="28282" y="0"/>
                </a:moveTo>
                <a:lnTo>
                  <a:pt x="13398" y="5335"/>
                </a:lnTo>
                <a:lnTo>
                  <a:pt x="7213" y="21336"/>
                </a:lnTo>
                <a:lnTo>
                  <a:pt x="10185" y="72517"/>
                </a:lnTo>
                <a:lnTo>
                  <a:pt x="12903" y="123698"/>
                </a:lnTo>
                <a:lnTo>
                  <a:pt x="15392" y="174879"/>
                </a:lnTo>
                <a:lnTo>
                  <a:pt x="17652" y="226187"/>
                </a:lnTo>
                <a:lnTo>
                  <a:pt x="19697" y="277368"/>
                </a:lnTo>
                <a:lnTo>
                  <a:pt x="21513" y="328549"/>
                </a:lnTo>
                <a:lnTo>
                  <a:pt x="23139" y="379858"/>
                </a:lnTo>
                <a:lnTo>
                  <a:pt x="24561" y="431039"/>
                </a:lnTo>
                <a:lnTo>
                  <a:pt x="25793" y="482347"/>
                </a:lnTo>
                <a:lnTo>
                  <a:pt x="26835" y="533654"/>
                </a:lnTo>
                <a:lnTo>
                  <a:pt x="27698" y="584962"/>
                </a:lnTo>
                <a:lnTo>
                  <a:pt x="28397" y="636143"/>
                </a:lnTo>
                <a:lnTo>
                  <a:pt x="28943" y="687452"/>
                </a:lnTo>
                <a:lnTo>
                  <a:pt x="29324" y="738760"/>
                </a:lnTo>
                <a:lnTo>
                  <a:pt x="29552" y="790067"/>
                </a:lnTo>
                <a:lnTo>
                  <a:pt x="29654" y="841375"/>
                </a:lnTo>
                <a:lnTo>
                  <a:pt x="29616" y="892684"/>
                </a:lnTo>
                <a:lnTo>
                  <a:pt x="29451" y="943991"/>
                </a:lnTo>
                <a:lnTo>
                  <a:pt x="29171" y="995427"/>
                </a:lnTo>
                <a:lnTo>
                  <a:pt x="28790" y="1046734"/>
                </a:lnTo>
                <a:lnTo>
                  <a:pt x="28295" y="1098043"/>
                </a:lnTo>
                <a:lnTo>
                  <a:pt x="27711" y="1149350"/>
                </a:lnTo>
                <a:lnTo>
                  <a:pt x="26276" y="1251967"/>
                </a:lnTo>
                <a:lnTo>
                  <a:pt x="24549" y="1354583"/>
                </a:lnTo>
                <a:lnTo>
                  <a:pt x="22593" y="1457199"/>
                </a:lnTo>
                <a:lnTo>
                  <a:pt x="18211" y="1662430"/>
                </a:lnTo>
                <a:lnTo>
                  <a:pt x="10655" y="1969517"/>
                </a:lnTo>
                <a:lnTo>
                  <a:pt x="8305" y="2072005"/>
                </a:lnTo>
                <a:lnTo>
                  <a:pt x="6134" y="2174368"/>
                </a:lnTo>
                <a:lnTo>
                  <a:pt x="4191" y="2276856"/>
                </a:lnTo>
                <a:lnTo>
                  <a:pt x="2552" y="2379346"/>
                </a:lnTo>
                <a:lnTo>
                  <a:pt x="1866" y="2430653"/>
                </a:lnTo>
                <a:lnTo>
                  <a:pt x="1269" y="2481834"/>
                </a:lnTo>
                <a:lnTo>
                  <a:pt x="774" y="2533143"/>
                </a:lnTo>
                <a:lnTo>
                  <a:pt x="393" y="2584450"/>
                </a:lnTo>
                <a:lnTo>
                  <a:pt x="139" y="2635631"/>
                </a:lnTo>
                <a:lnTo>
                  <a:pt x="0" y="2686939"/>
                </a:lnTo>
                <a:lnTo>
                  <a:pt x="0" y="2738248"/>
                </a:lnTo>
                <a:lnTo>
                  <a:pt x="139" y="2789428"/>
                </a:lnTo>
                <a:lnTo>
                  <a:pt x="419" y="2840737"/>
                </a:lnTo>
                <a:lnTo>
                  <a:pt x="863" y="2892045"/>
                </a:lnTo>
                <a:lnTo>
                  <a:pt x="1473" y="2943353"/>
                </a:lnTo>
                <a:lnTo>
                  <a:pt x="2247" y="2994584"/>
                </a:lnTo>
                <a:lnTo>
                  <a:pt x="3200" y="3045854"/>
                </a:lnTo>
                <a:lnTo>
                  <a:pt x="4330" y="3097137"/>
                </a:lnTo>
                <a:lnTo>
                  <a:pt x="5664" y="3148419"/>
                </a:lnTo>
                <a:lnTo>
                  <a:pt x="7200" y="3199702"/>
                </a:lnTo>
                <a:lnTo>
                  <a:pt x="8928" y="3250985"/>
                </a:lnTo>
                <a:lnTo>
                  <a:pt x="10883" y="3302267"/>
                </a:lnTo>
                <a:lnTo>
                  <a:pt x="13030" y="3353016"/>
                </a:lnTo>
                <a:lnTo>
                  <a:pt x="15417" y="3403753"/>
                </a:lnTo>
                <a:lnTo>
                  <a:pt x="18033" y="3454489"/>
                </a:lnTo>
                <a:lnTo>
                  <a:pt x="20891" y="3505226"/>
                </a:lnTo>
                <a:lnTo>
                  <a:pt x="24015" y="3555950"/>
                </a:lnTo>
                <a:lnTo>
                  <a:pt x="27381" y="3606674"/>
                </a:lnTo>
                <a:lnTo>
                  <a:pt x="31026" y="3657397"/>
                </a:lnTo>
                <a:lnTo>
                  <a:pt x="34925" y="3708096"/>
                </a:lnTo>
                <a:lnTo>
                  <a:pt x="39116" y="3758794"/>
                </a:lnTo>
                <a:lnTo>
                  <a:pt x="43586" y="3809480"/>
                </a:lnTo>
                <a:lnTo>
                  <a:pt x="48336" y="3860153"/>
                </a:lnTo>
                <a:lnTo>
                  <a:pt x="53390" y="3910800"/>
                </a:lnTo>
                <a:lnTo>
                  <a:pt x="58737" y="3961448"/>
                </a:lnTo>
                <a:lnTo>
                  <a:pt x="64401" y="4012070"/>
                </a:lnTo>
                <a:lnTo>
                  <a:pt x="70370" y="4062680"/>
                </a:lnTo>
                <a:lnTo>
                  <a:pt x="76669" y="4113268"/>
                </a:lnTo>
                <a:lnTo>
                  <a:pt x="83286" y="4163836"/>
                </a:lnTo>
                <a:lnTo>
                  <a:pt x="90233" y="4214384"/>
                </a:lnTo>
                <a:lnTo>
                  <a:pt x="114808" y="4229080"/>
                </a:lnTo>
                <a:lnTo>
                  <a:pt x="128523" y="4219779"/>
                </a:lnTo>
                <a:lnTo>
                  <a:pt x="132969" y="4202008"/>
                </a:lnTo>
                <a:lnTo>
                  <a:pt x="126047" y="4151519"/>
                </a:lnTo>
                <a:lnTo>
                  <a:pt x="119468" y="4100996"/>
                </a:lnTo>
                <a:lnTo>
                  <a:pt x="113220" y="4050437"/>
                </a:lnTo>
                <a:lnTo>
                  <a:pt x="107302" y="3999853"/>
                </a:lnTo>
                <a:lnTo>
                  <a:pt x="101714" y="3949231"/>
                </a:lnTo>
                <a:lnTo>
                  <a:pt x="96431" y="3898583"/>
                </a:lnTo>
                <a:lnTo>
                  <a:pt x="91452" y="3847897"/>
                </a:lnTo>
                <a:lnTo>
                  <a:pt x="86779" y="3797199"/>
                </a:lnTo>
                <a:lnTo>
                  <a:pt x="82397" y="3746462"/>
                </a:lnTo>
                <a:lnTo>
                  <a:pt x="78295" y="3695713"/>
                </a:lnTo>
                <a:lnTo>
                  <a:pt x="74472" y="3644939"/>
                </a:lnTo>
                <a:lnTo>
                  <a:pt x="70929" y="3594139"/>
                </a:lnTo>
                <a:lnTo>
                  <a:pt x="67640" y="3543326"/>
                </a:lnTo>
                <a:lnTo>
                  <a:pt x="64592" y="3492488"/>
                </a:lnTo>
                <a:lnTo>
                  <a:pt x="61810" y="3441624"/>
                </a:lnTo>
                <a:lnTo>
                  <a:pt x="59258" y="3390761"/>
                </a:lnTo>
                <a:lnTo>
                  <a:pt x="56946" y="3339872"/>
                </a:lnTo>
                <a:lnTo>
                  <a:pt x="54851" y="3288983"/>
                </a:lnTo>
                <a:lnTo>
                  <a:pt x="52971" y="3238069"/>
                </a:lnTo>
                <a:lnTo>
                  <a:pt x="51308" y="3187142"/>
                </a:lnTo>
                <a:lnTo>
                  <a:pt x="49847" y="3136215"/>
                </a:lnTo>
                <a:lnTo>
                  <a:pt x="48590" y="3085275"/>
                </a:lnTo>
                <a:lnTo>
                  <a:pt x="47510" y="3034335"/>
                </a:lnTo>
                <a:lnTo>
                  <a:pt x="46608" y="2983383"/>
                </a:lnTo>
                <a:lnTo>
                  <a:pt x="45885" y="2932431"/>
                </a:lnTo>
                <a:lnTo>
                  <a:pt x="45326" y="2881503"/>
                </a:lnTo>
                <a:lnTo>
                  <a:pt x="44932" y="2830576"/>
                </a:lnTo>
                <a:lnTo>
                  <a:pt x="44691" y="2779523"/>
                </a:lnTo>
                <a:lnTo>
                  <a:pt x="44589" y="2728595"/>
                </a:lnTo>
                <a:lnTo>
                  <a:pt x="44615" y="2677668"/>
                </a:lnTo>
                <a:lnTo>
                  <a:pt x="44780" y="2626742"/>
                </a:lnTo>
                <a:lnTo>
                  <a:pt x="45351" y="2524761"/>
                </a:lnTo>
                <a:lnTo>
                  <a:pt x="45758" y="2473706"/>
                </a:lnTo>
                <a:lnTo>
                  <a:pt x="46266" y="2422652"/>
                </a:lnTo>
                <a:lnTo>
                  <a:pt x="46875" y="2371599"/>
                </a:lnTo>
                <a:lnTo>
                  <a:pt x="47574" y="2320545"/>
                </a:lnTo>
                <a:lnTo>
                  <a:pt x="49212" y="2218436"/>
                </a:lnTo>
                <a:lnTo>
                  <a:pt x="51130" y="2116328"/>
                </a:lnTo>
                <a:lnTo>
                  <a:pt x="54381" y="1963167"/>
                </a:lnTo>
                <a:lnTo>
                  <a:pt x="63830" y="1554989"/>
                </a:lnTo>
                <a:lnTo>
                  <a:pt x="66040" y="1453008"/>
                </a:lnTo>
                <a:lnTo>
                  <a:pt x="68072" y="1351027"/>
                </a:lnTo>
                <a:lnTo>
                  <a:pt x="69862" y="1249173"/>
                </a:lnTo>
                <a:lnTo>
                  <a:pt x="70637" y="1198118"/>
                </a:lnTo>
                <a:lnTo>
                  <a:pt x="71335" y="1147192"/>
                </a:lnTo>
                <a:lnTo>
                  <a:pt x="71945" y="1096265"/>
                </a:lnTo>
                <a:lnTo>
                  <a:pt x="72453" y="1045211"/>
                </a:lnTo>
                <a:lnTo>
                  <a:pt x="72859" y="994283"/>
                </a:lnTo>
                <a:lnTo>
                  <a:pt x="73482" y="892048"/>
                </a:lnTo>
                <a:lnTo>
                  <a:pt x="73672" y="840741"/>
                </a:lnTo>
                <a:lnTo>
                  <a:pt x="73723" y="789433"/>
                </a:lnTo>
                <a:lnTo>
                  <a:pt x="73609" y="738124"/>
                </a:lnTo>
                <a:lnTo>
                  <a:pt x="73329" y="686816"/>
                </a:lnTo>
                <a:lnTo>
                  <a:pt x="72872" y="635635"/>
                </a:lnTo>
                <a:lnTo>
                  <a:pt x="72237" y="584328"/>
                </a:lnTo>
                <a:lnTo>
                  <a:pt x="71412" y="533147"/>
                </a:lnTo>
                <a:lnTo>
                  <a:pt x="70396" y="481966"/>
                </a:lnTo>
                <a:lnTo>
                  <a:pt x="69176" y="430658"/>
                </a:lnTo>
                <a:lnTo>
                  <a:pt x="67741" y="379477"/>
                </a:lnTo>
                <a:lnTo>
                  <a:pt x="66090" y="328296"/>
                </a:lnTo>
                <a:lnTo>
                  <a:pt x="64211" y="277115"/>
                </a:lnTo>
                <a:lnTo>
                  <a:pt x="62102" y="225934"/>
                </a:lnTo>
                <a:lnTo>
                  <a:pt x="59753" y="174879"/>
                </a:lnTo>
                <a:lnTo>
                  <a:pt x="57150" y="123698"/>
                </a:lnTo>
                <a:lnTo>
                  <a:pt x="54292" y="72517"/>
                </a:lnTo>
                <a:lnTo>
                  <a:pt x="51168" y="21336"/>
                </a:lnTo>
                <a:lnTo>
                  <a:pt x="43611" y="5335"/>
                </a:lnTo>
                <a:lnTo>
                  <a:pt x="28282" y="0"/>
                </a:lnTo>
                <a:close/>
                <a:moveTo>
                  <a:pt x="3600450" y="4229100"/>
                </a:moveTo>
              </a:path>
            </a:pathLst>
          </a:custGeom>
          <a:solidFill>
            <a:srgbClr val="4B71B1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45" name="Freeform 745"/>
          <p:cNvSpPr/>
          <p:nvPr/>
        </p:nvSpPr>
        <p:spPr>
          <a:xfrm>
            <a:off x="4962525" y="2628900"/>
            <a:ext cx="142747" cy="4229080"/>
          </a:xfrm>
          <a:custGeom>
            <a:avLst/>
            <a:gdLst/>
            <a:ahLst/>
            <a:cxnLst/>
            <a:rect l="0" t="0" r="0" b="0"/>
            <a:pathLst>
              <a:path w="142747" h="4229080">
                <a:moveTo>
                  <a:pt x="30353" y="0"/>
                </a:moveTo>
                <a:lnTo>
                  <a:pt x="14351" y="5335"/>
                </a:lnTo>
                <a:lnTo>
                  <a:pt x="7746" y="21336"/>
                </a:lnTo>
                <a:lnTo>
                  <a:pt x="10921" y="72517"/>
                </a:lnTo>
                <a:lnTo>
                  <a:pt x="13842" y="123698"/>
                </a:lnTo>
                <a:lnTo>
                  <a:pt x="16509" y="174879"/>
                </a:lnTo>
                <a:lnTo>
                  <a:pt x="18922" y="226187"/>
                </a:lnTo>
                <a:lnTo>
                  <a:pt x="21082" y="277368"/>
                </a:lnTo>
                <a:lnTo>
                  <a:pt x="23114" y="328549"/>
                </a:lnTo>
                <a:lnTo>
                  <a:pt x="24891" y="379858"/>
                </a:lnTo>
                <a:lnTo>
                  <a:pt x="26415" y="431039"/>
                </a:lnTo>
                <a:lnTo>
                  <a:pt x="27685" y="482347"/>
                </a:lnTo>
                <a:lnTo>
                  <a:pt x="28828" y="533654"/>
                </a:lnTo>
                <a:lnTo>
                  <a:pt x="29717" y="584962"/>
                </a:lnTo>
                <a:lnTo>
                  <a:pt x="30479" y="636143"/>
                </a:lnTo>
                <a:lnTo>
                  <a:pt x="31115" y="687452"/>
                </a:lnTo>
                <a:lnTo>
                  <a:pt x="31496" y="738760"/>
                </a:lnTo>
                <a:lnTo>
                  <a:pt x="31750" y="790067"/>
                </a:lnTo>
                <a:lnTo>
                  <a:pt x="31877" y="841375"/>
                </a:lnTo>
                <a:lnTo>
                  <a:pt x="31750" y="892684"/>
                </a:lnTo>
                <a:lnTo>
                  <a:pt x="31622" y="943991"/>
                </a:lnTo>
                <a:lnTo>
                  <a:pt x="31369" y="995427"/>
                </a:lnTo>
                <a:lnTo>
                  <a:pt x="30860" y="1046734"/>
                </a:lnTo>
                <a:lnTo>
                  <a:pt x="30353" y="1098043"/>
                </a:lnTo>
                <a:lnTo>
                  <a:pt x="29717" y="1149350"/>
                </a:lnTo>
                <a:lnTo>
                  <a:pt x="28194" y="1251967"/>
                </a:lnTo>
                <a:lnTo>
                  <a:pt x="26289" y="1354583"/>
                </a:lnTo>
                <a:lnTo>
                  <a:pt x="24257" y="1457199"/>
                </a:lnTo>
                <a:lnTo>
                  <a:pt x="19558" y="1662430"/>
                </a:lnTo>
                <a:lnTo>
                  <a:pt x="11429" y="1969517"/>
                </a:lnTo>
                <a:lnTo>
                  <a:pt x="8890" y="2072005"/>
                </a:lnTo>
                <a:lnTo>
                  <a:pt x="6603" y="2174368"/>
                </a:lnTo>
                <a:lnTo>
                  <a:pt x="4445" y="2276856"/>
                </a:lnTo>
                <a:lnTo>
                  <a:pt x="2794" y="2379346"/>
                </a:lnTo>
                <a:lnTo>
                  <a:pt x="2032" y="2430653"/>
                </a:lnTo>
                <a:lnTo>
                  <a:pt x="1396" y="2481834"/>
                </a:lnTo>
                <a:lnTo>
                  <a:pt x="889" y="2533143"/>
                </a:lnTo>
                <a:lnTo>
                  <a:pt x="380" y="2584450"/>
                </a:lnTo>
                <a:lnTo>
                  <a:pt x="127" y="2635631"/>
                </a:lnTo>
                <a:lnTo>
                  <a:pt x="0" y="2686939"/>
                </a:lnTo>
                <a:lnTo>
                  <a:pt x="0" y="2738248"/>
                </a:lnTo>
                <a:lnTo>
                  <a:pt x="127" y="2789428"/>
                </a:lnTo>
                <a:lnTo>
                  <a:pt x="508" y="2840737"/>
                </a:lnTo>
                <a:lnTo>
                  <a:pt x="889" y="2892045"/>
                </a:lnTo>
                <a:lnTo>
                  <a:pt x="1523" y="2943353"/>
                </a:lnTo>
                <a:lnTo>
                  <a:pt x="2413" y="2994584"/>
                </a:lnTo>
                <a:lnTo>
                  <a:pt x="3428" y="3045854"/>
                </a:lnTo>
                <a:lnTo>
                  <a:pt x="4698" y="3097137"/>
                </a:lnTo>
                <a:lnTo>
                  <a:pt x="6096" y="3148419"/>
                </a:lnTo>
                <a:lnTo>
                  <a:pt x="7746" y="3199702"/>
                </a:lnTo>
                <a:lnTo>
                  <a:pt x="9525" y="3250985"/>
                </a:lnTo>
                <a:lnTo>
                  <a:pt x="11684" y="3302267"/>
                </a:lnTo>
                <a:lnTo>
                  <a:pt x="13970" y="3353016"/>
                </a:lnTo>
                <a:lnTo>
                  <a:pt x="16509" y="3403753"/>
                </a:lnTo>
                <a:lnTo>
                  <a:pt x="19303" y="3454489"/>
                </a:lnTo>
                <a:lnTo>
                  <a:pt x="22478" y="3505226"/>
                </a:lnTo>
                <a:lnTo>
                  <a:pt x="25780" y="3555950"/>
                </a:lnTo>
                <a:lnTo>
                  <a:pt x="29336" y="3606674"/>
                </a:lnTo>
                <a:lnTo>
                  <a:pt x="33273" y="3657397"/>
                </a:lnTo>
                <a:lnTo>
                  <a:pt x="37465" y="3708096"/>
                </a:lnTo>
                <a:lnTo>
                  <a:pt x="42036" y="3758794"/>
                </a:lnTo>
                <a:lnTo>
                  <a:pt x="46735" y="3809480"/>
                </a:lnTo>
                <a:lnTo>
                  <a:pt x="51815" y="3860153"/>
                </a:lnTo>
                <a:lnTo>
                  <a:pt x="57277" y="3910800"/>
                </a:lnTo>
                <a:lnTo>
                  <a:pt x="62991" y="3961448"/>
                </a:lnTo>
                <a:lnTo>
                  <a:pt x="69088" y="4012070"/>
                </a:lnTo>
                <a:lnTo>
                  <a:pt x="75565" y="4062680"/>
                </a:lnTo>
                <a:lnTo>
                  <a:pt x="82296" y="4113268"/>
                </a:lnTo>
                <a:lnTo>
                  <a:pt x="89408" y="4163836"/>
                </a:lnTo>
                <a:lnTo>
                  <a:pt x="96901" y="4214384"/>
                </a:lnTo>
                <a:lnTo>
                  <a:pt x="123190" y="4229080"/>
                </a:lnTo>
                <a:lnTo>
                  <a:pt x="137921" y="4219779"/>
                </a:lnTo>
                <a:lnTo>
                  <a:pt x="142747" y="4202008"/>
                </a:lnTo>
                <a:lnTo>
                  <a:pt x="135254" y="4151519"/>
                </a:lnTo>
                <a:lnTo>
                  <a:pt x="128270" y="4100996"/>
                </a:lnTo>
                <a:lnTo>
                  <a:pt x="121539" y="4050437"/>
                </a:lnTo>
                <a:lnTo>
                  <a:pt x="115189" y="3999853"/>
                </a:lnTo>
                <a:lnTo>
                  <a:pt x="109220" y="3949231"/>
                </a:lnTo>
                <a:lnTo>
                  <a:pt x="103504" y="3898583"/>
                </a:lnTo>
                <a:lnTo>
                  <a:pt x="98171" y="3847897"/>
                </a:lnTo>
                <a:lnTo>
                  <a:pt x="93090" y="3797199"/>
                </a:lnTo>
                <a:lnTo>
                  <a:pt x="88391" y="3746462"/>
                </a:lnTo>
                <a:lnTo>
                  <a:pt x="84073" y="3695713"/>
                </a:lnTo>
                <a:lnTo>
                  <a:pt x="79883" y="3644939"/>
                </a:lnTo>
                <a:lnTo>
                  <a:pt x="76072" y="3594139"/>
                </a:lnTo>
                <a:lnTo>
                  <a:pt x="72644" y="3543326"/>
                </a:lnTo>
                <a:lnTo>
                  <a:pt x="69341" y="3492488"/>
                </a:lnTo>
                <a:lnTo>
                  <a:pt x="66294" y="3441624"/>
                </a:lnTo>
                <a:lnTo>
                  <a:pt x="63627" y="3390761"/>
                </a:lnTo>
                <a:lnTo>
                  <a:pt x="61086" y="3339872"/>
                </a:lnTo>
                <a:lnTo>
                  <a:pt x="58928" y="3288983"/>
                </a:lnTo>
                <a:lnTo>
                  <a:pt x="56896" y="3238069"/>
                </a:lnTo>
                <a:lnTo>
                  <a:pt x="55117" y="3187142"/>
                </a:lnTo>
                <a:lnTo>
                  <a:pt x="53466" y="3136215"/>
                </a:lnTo>
                <a:lnTo>
                  <a:pt x="52196" y="3085275"/>
                </a:lnTo>
                <a:lnTo>
                  <a:pt x="50927" y="3034335"/>
                </a:lnTo>
                <a:lnTo>
                  <a:pt x="50038" y="2983383"/>
                </a:lnTo>
                <a:lnTo>
                  <a:pt x="49276" y="2932431"/>
                </a:lnTo>
                <a:lnTo>
                  <a:pt x="48640" y="2881503"/>
                </a:lnTo>
                <a:lnTo>
                  <a:pt x="48259" y="2830576"/>
                </a:lnTo>
                <a:lnTo>
                  <a:pt x="48005" y="2779523"/>
                </a:lnTo>
                <a:lnTo>
                  <a:pt x="47878" y="2728595"/>
                </a:lnTo>
                <a:lnTo>
                  <a:pt x="47878" y="2677668"/>
                </a:lnTo>
                <a:lnTo>
                  <a:pt x="48005" y="2626742"/>
                </a:lnTo>
                <a:lnTo>
                  <a:pt x="48640" y="2524761"/>
                </a:lnTo>
                <a:lnTo>
                  <a:pt x="49148" y="2473706"/>
                </a:lnTo>
                <a:lnTo>
                  <a:pt x="49657" y="2422652"/>
                </a:lnTo>
                <a:lnTo>
                  <a:pt x="50291" y="2371599"/>
                </a:lnTo>
                <a:lnTo>
                  <a:pt x="51053" y="2320545"/>
                </a:lnTo>
                <a:lnTo>
                  <a:pt x="52832" y="2218436"/>
                </a:lnTo>
                <a:lnTo>
                  <a:pt x="54864" y="2116328"/>
                </a:lnTo>
                <a:lnTo>
                  <a:pt x="58420" y="1963167"/>
                </a:lnTo>
                <a:lnTo>
                  <a:pt x="68453" y="1554989"/>
                </a:lnTo>
                <a:lnTo>
                  <a:pt x="70865" y="1453008"/>
                </a:lnTo>
                <a:lnTo>
                  <a:pt x="73025" y="1351027"/>
                </a:lnTo>
                <a:lnTo>
                  <a:pt x="74929" y="1249173"/>
                </a:lnTo>
                <a:lnTo>
                  <a:pt x="75819" y="1198118"/>
                </a:lnTo>
                <a:lnTo>
                  <a:pt x="76580" y="1147192"/>
                </a:lnTo>
                <a:lnTo>
                  <a:pt x="77215" y="1096265"/>
                </a:lnTo>
                <a:lnTo>
                  <a:pt x="77723" y="1045211"/>
                </a:lnTo>
                <a:lnTo>
                  <a:pt x="78232" y="994283"/>
                </a:lnTo>
                <a:lnTo>
                  <a:pt x="78866" y="892048"/>
                </a:lnTo>
                <a:lnTo>
                  <a:pt x="79121" y="840741"/>
                </a:lnTo>
                <a:lnTo>
                  <a:pt x="79121" y="789433"/>
                </a:lnTo>
                <a:lnTo>
                  <a:pt x="78994" y="738124"/>
                </a:lnTo>
                <a:lnTo>
                  <a:pt x="78740" y="686816"/>
                </a:lnTo>
                <a:lnTo>
                  <a:pt x="78232" y="635635"/>
                </a:lnTo>
                <a:lnTo>
                  <a:pt x="77470" y="584328"/>
                </a:lnTo>
                <a:lnTo>
                  <a:pt x="76708" y="533147"/>
                </a:lnTo>
                <a:lnTo>
                  <a:pt x="75565" y="481966"/>
                </a:lnTo>
                <a:lnTo>
                  <a:pt x="74295" y="430658"/>
                </a:lnTo>
                <a:lnTo>
                  <a:pt x="72644" y="379477"/>
                </a:lnTo>
                <a:lnTo>
                  <a:pt x="70992" y="328296"/>
                </a:lnTo>
                <a:lnTo>
                  <a:pt x="68960" y="277115"/>
                </a:lnTo>
                <a:lnTo>
                  <a:pt x="66675" y="225934"/>
                </a:lnTo>
                <a:lnTo>
                  <a:pt x="64134" y="174879"/>
                </a:lnTo>
                <a:lnTo>
                  <a:pt x="61340" y="123698"/>
                </a:lnTo>
                <a:lnTo>
                  <a:pt x="58292" y="72517"/>
                </a:lnTo>
                <a:lnTo>
                  <a:pt x="54864" y="21336"/>
                </a:lnTo>
                <a:lnTo>
                  <a:pt x="46863" y="5335"/>
                </a:lnTo>
                <a:lnTo>
                  <a:pt x="30353" y="0"/>
                </a:lnTo>
                <a:close/>
                <a:moveTo>
                  <a:pt x="-733425" y="4229100"/>
                </a:moveTo>
              </a:path>
            </a:pathLst>
          </a:custGeom>
          <a:solidFill>
            <a:srgbClr val="4B71B1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46" name="Rectangle 746"/>
          <p:cNvSpPr/>
          <p:nvPr/>
        </p:nvSpPr>
        <p:spPr>
          <a:xfrm>
            <a:off x="11418951" y="6397333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25</a:t>
            </a:r>
          </a:p>
        </p:txBody>
      </p:sp>
      <p:sp>
        <p:nvSpPr>
          <p:cNvPr id="747" name="Rectangle 747"/>
          <p:cNvSpPr/>
          <p:nvPr/>
        </p:nvSpPr>
        <p:spPr>
          <a:xfrm>
            <a:off x="9221851" y="1272919"/>
            <a:ext cx="1607263" cy="12601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431418"/>
            <a:r>
              <a:rPr lang="fr-FR" sz="2027" b="1" i="0" spc="0" baseline="0" dirty="0">
                <a:solidFill>
                  <a:srgbClr val="FFFFFF"/>
                </a:solidFill>
                <a:latin typeface="Arial"/>
              </a:rPr>
              <a:t>Tr</a:t>
            </a:r>
            <a:r>
              <a:rPr lang="fr-FR" sz="2027" b="1" i="0" spc="492" baseline="0" dirty="0">
                <a:solidFill>
                  <a:srgbClr val="FFFFFF"/>
                </a:solidFill>
                <a:latin typeface="Arial"/>
              </a:rPr>
              <a:t>y</a:t>
            </a:r>
            <a:r>
              <a:rPr lang="fr-FR" sz="2027" b="1" i="0" spc="0" baseline="0" dirty="0">
                <a:solidFill>
                  <a:srgbClr val="FFFFFF"/>
                </a:solidFill>
                <a:latin typeface="Arial"/>
              </a:rPr>
              <a:t>to </a:t>
            </a:r>
          </a:p>
          <a:p>
            <a:pPr marL="0">
              <a:lnSpc>
                <a:spcPts val="2401"/>
              </a:lnSpc>
            </a:pPr>
            <a:r>
              <a:rPr lang="fr-FR" sz="2027" b="1" i="0" spc="0" baseline="0" dirty="0">
                <a:solidFill>
                  <a:srgbClr val="FFFFFF"/>
                </a:solidFill>
                <a:latin typeface="Arial"/>
              </a:rPr>
              <a:t>practic</a:t>
            </a:r>
            <a:r>
              <a:rPr lang="fr-FR" sz="2027" b="1" i="0" spc="462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2027" b="1" i="0" spc="0" baseline="0" dirty="0">
                <a:solidFill>
                  <a:srgbClr val="FFFFFF"/>
                </a:solidFill>
                <a:latin typeface="Arial"/>
              </a:rPr>
              <a:t>with </a:t>
            </a:r>
          </a:p>
          <a:p>
            <a:pPr marL="62103">
              <a:lnSpc>
                <a:spcPts val="2403"/>
              </a:lnSpc>
            </a:pPr>
            <a:r>
              <a:rPr lang="fr-FR" sz="2027" b="1" i="0" spc="0" baseline="0" dirty="0">
                <a:solidFill>
                  <a:srgbClr val="FFFFFF"/>
                </a:solidFill>
                <a:latin typeface="Arial"/>
              </a:rPr>
              <a:t>challenging </a:t>
            </a:r>
          </a:p>
          <a:p>
            <a:pPr marL="259968">
              <a:lnSpc>
                <a:spcPts val="2405"/>
              </a:lnSpc>
            </a:pPr>
            <a:r>
              <a:rPr lang="fr-FR" sz="2027" b="1" i="0" spc="0" baseline="0" dirty="0">
                <a:solidFill>
                  <a:srgbClr val="FFFFFF"/>
                </a:solidFill>
                <a:latin typeface="Arial"/>
              </a:rPr>
              <a:t>partners</a:t>
            </a:r>
          </a:p>
        </p:txBody>
      </p:sp>
      <p:sp>
        <p:nvSpPr>
          <p:cNvPr id="748" name="Rectangle 748"/>
          <p:cNvSpPr/>
          <p:nvPr/>
        </p:nvSpPr>
        <p:spPr>
          <a:xfrm>
            <a:off x="5272404" y="2852011"/>
            <a:ext cx="2289385" cy="58289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Train with other ESCP </a:t>
            </a:r>
          </a:p>
          <a:p>
            <a:pPr marL="0">
              <a:lnSpc>
                <a:spcPts val="2178"/>
              </a:lnSpc>
            </a:pP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candidates</a:t>
            </a:r>
          </a:p>
        </p:txBody>
      </p:sp>
      <p:sp>
        <p:nvSpPr>
          <p:cNvPr id="749" name="Rectangle 749"/>
          <p:cNvSpPr/>
          <p:nvPr/>
        </p:nvSpPr>
        <p:spPr>
          <a:xfrm>
            <a:off x="5272404" y="3675861"/>
            <a:ext cx="2798230" cy="58289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Try t</a:t>
            </a:r>
            <a:r>
              <a:rPr lang="fr-FR" sz="1802" b="0" i="0" spc="452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be a</a:t>
            </a:r>
            <a:r>
              <a:rPr lang="fr-FR" sz="1802" b="0" i="0" spc="513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muc</a:t>
            </a:r>
            <a:r>
              <a:rPr lang="fr-FR" sz="1802" b="0" i="0" spc="493" baseline="0" dirty="0">
                <a:solidFill>
                  <a:srgbClr val="555555"/>
                </a:solidFill>
                <a:latin typeface="Arial"/>
              </a:rPr>
              <a:t>h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an</a:t>
            </a:r>
          </a:p>
          <a:p>
            <a:pPr marL="0">
              <a:lnSpc>
                <a:spcPts val="2178"/>
              </a:lnSpc>
            </a:pP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interviewe</a:t>
            </a:r>
            <a:r>
              <a:rPr lang="fr-FR" sz="1802" b="0" i="0" spc="518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a</a:t>
            </a:r>
            <a:r>
              <a:rPr lang="fr-FR" sz="1802" b="0" i="0" spc="499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802" b="0" i="0" spc="489" baseline="0" dirty="0">
                <a:solidFill>
                  <a:srgbClr val="555555"/>
                </a:solidFill>
                <a:latin typeface="Arial"/>
              </a:rPr>
              <a:t>a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interviewee</a:t>
            </a:r>
          </a:p>
        </p:txBody>
      </p:sp>
      <p:sp>
        <p:nvSpPr>
          <p:cNvPr id="750" name="Rectangle 750"/>
          <p:cNvSpPr/>
          <p:nvPr/>
        </p:nvSpPr>
        <p:spPr>
          <a:xfrm>
            <a:off x="5272404" y="4500472"/>
            <a:ext cx="1954592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Shar</a:t>
            </a:r>
            <a:r>
              <a:rPr lang="fr-FR" sz="1802" b="0" i="0" spc="504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bes</a:t>
            </a:r>
            <a:r>
              <a:rPr lang="fr-FR" sz="1802" b="0" i="0" spc="512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practice</a:t>
            </a:r>
          </a:p>
        </p:txBody>
      </p:sp>
      <p:sp>
        <p:nvSpPr>
          <p:cNvPr id="751" name="Rectangle 751"/>
          <p:cNvSpPr/>
          <p:nvPr/>
        </p:nvSpPr>
        <p:spPr>
          <a:xfrm>
            <a:off x="5272404" y="5049747"/>
            <a:ext cx="1253928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Shar</a:t>
            </a:r>
            <a:r>
              <a:rPr lang="fr-FR" sz="1802" b="0" i="0" spc="469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cases</a:t>
            </a:r>
          </a:p>
        </p:txBody>
      </p:sp>
      <p:sp>
        <p:nvSpPr>
          <p:cNvPr id="752" name="Rectangle 752"/>
          <p:cNvSpPr/>
          <p:nvPr/>
        </p:nvSpPr>
        <p:spPr>
          <a:xfrm>
            <a:off x="5272404" y="5599657"/>
            <a:ext cx="3282591" cy="5828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Apply to case cracking sessions </a:t>
            </a:r>
          </a:p>
          <a:p>
            <a:pPr marL="0">
              <a:lnSpc>
                <a:spcPts val="2177"/>
              </a:lnSpc>
            </a:pP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offere</a:t>
            </a:r>
            <a:r>
              <a:rPr lang="fr-FR" sz="1802" b="0" i="0" spc="498" baseline="0" dirty="0">
                <a:solidFill>
                  <a:srgbClr val="555555"/>
                </a:solidFill>
                <a:latin typeface="Arial"/>
              </a:rPr>
              <a:t>d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b</a:t>
            </a:r>
            <a:r>
              <a:rPr lang="fr-FR" sz="1802" b="0" i="0" spc="503" baseline="0" dirty="0">
                <a:solidFill>
                  <a:srgbClr val="555555"/>
                </a:solidFill>
                <a:latin typeface="Arial"/>
              </a:rPr>
              <a:t>y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consultancy</a:t>
            </a:r>
          </a:p>
        </p:txBody>
      </p:sp>
      <p:sp>
        <p:nvSpPr>
          <p:cNvPr id="753" name="Rectangle 753"/>
          <p:cNvSpPr/>
          <p:nvPr/>
        </p:nvSpPr>
        <p:spPr>
          <a:xfrm>
            <a:off x="630555" y="459812"/>
            <a:ext cx="5246428" cy="112794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BFBFBF"/>
                </a:solidFill>
                <a:latin typeface="Arial"/>
              </a:rPr>
              <a:t>Ti</a:t>
            </a:r>
            <a:r>
              <a:rPr lang="fr-FR" sz="3604" b="1" i="0" spc="936" baseline="0" dirty="0">
                <a:solidFill>
                  <a:srgbClr val="BFBFBF"/>
                </a:solidFill>
                <a:latin typeface="Arial"/>
              </a:rPr>
              <a:t>p</a:t>
            </a:r>
            <a:r>
              <a:rPr lang="fr-FR" sz="3604" b="1" i="0" spc="0" baseline="0" dirty="0">
                <a:solidFill>
                  <a:srgbClr val="BFBFBF"/>
                </a:solidFill>
                <a:latin typeface="Arial"/>
              </a:rPr>
              <a:t>no.4</a:t>
            </a:r>
          </a:p>
          <a:p>
            <a:pPr marL="0">
              <a:lnSpc>
                <a:spcPts val="4058"/>
              </a:lnSpc>
            </a:pP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Trai</a:t>
            </a:r>
            <a:r>
              <a:rPr lang="fr-FR" sz="3604" b="1" i="0" spc="916" baseline="0" dirty="0">
                <a:solidFill>
                  <a:srgbClr val="466CAD"/>
                </a:solidFill>
                <a:latin typeface="Arial"/>
              </a:rPr>
              <a:t>n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..</a:t>
            </a:r>
            <a:r>
              <a:rPr lang="fr-FR" sz="3604" b="1" i="0" spc="956" baseline="0" dirty="0">
                <a:solidFill>
                  <a:srgbClr val="466CAD"/>
                </a:solidFill>
                <a:latin typeface="Arial"/>
              </a:rPr>
              <a:t>.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an</a:t>
            </a:r>
            <a:r>
              <a:rPr lang="fr-FR" sz="3604" b="1" i="0" spc="992" baseline="0" dirty="0">
                <a:solidFill>
                  <a:srgbClr val="466CAD"/>
                </a:solidFill>
                <a:latin typeface="Arial"/>
              </a:rPr>
              <a:t>d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trai</a:t>
            </a:r>
            <a:r>
              <a:rPr lang="fr-FR" sz="3604" b="1" i="0" spc="953" baseline="0" dirty="0">
                <a:solidFill>
                  <a:srgbClr val="466CAD"/>
                </a:solidFill>
                <a:latin typeface="Arial"/>
              </a:rPr>
              <a:t>n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agai</a:t>
            </a:r>
            <a:r>
              <a:rPr lang="fr-FR" sz="3604" b="1" i="0" spc="984" baseline="0" dirty="0">
                <a:solidFill>
                  <a:srgbClr val="466CAD"/>
                </a:solidFill>
                <a:latin typeface="Arial"/>
              </a:rPr>
              <a:t>n!</a:t>
            </a:r>
          </a:p>
        </p:txBody>
      </p:sp>
      <p:sp>
        <p:nvSpPr>
          <p:cNvPr id="754" name="Rectangle 754"/>
          <p:cNvSpPr/>
          <p:nvPr/>
        </p:nvSpPr>
        <p:spPr>
          <a:xfrm>
            <a:off x="933132" y="2852011"/>
            <a:ext cx="2874818" cy="58289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Find strategy consulting </a:t>
            </a:r>
          </a:p>
          <a:p>
            <a:pPr marL="0">
              <a:lnSpc>
                <a:spcPts val="2178"/>
              </a:lnSpc>
            </a:pP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candidate</a:t>
            </a:r>
            <a:r>
              <a:rPr lang="fr-FR" sz="1802" b="0" i="0" spc="542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al</a:t>
            </a:r>
            <a:r>
              <a:rPr lang="fr-FR" sz="1802" b="0" i="0" spc="450" baseline="0" dirty="0">
                <a:solidFill>
                  <a:srgbClr val="555555"/>
                </a:solidFill>
                <a:latin typeface="Arial"/>
              </a:rPr>
              <a:t>l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ove</a:t>
            </a:r>
            <a:r>
              <a:rPr lang="fr-FR" sz="1802" b="0" i="0" spc="527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th</a:t>
            </a:r>
            <a:r>
              <a:rPr lang="fr-FR" sz="1802" b="0" i="0" spc="481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world</a:t>
            </a:r>
          </a:p>
        </p:txBody>
      </p:sp>
      <p:sp>
        <p:nvSpPr>
          <p:cNvPr id="755" name="Rectangle 755"/>
          <p:cNvSpPr/>
          <p:nvPr/>
        </p:nvSpPr>
        <p:spPr>
          <a:xfrm>
            <a:off x="933132" y="3675861"/>
            <a:ext cx="3195621" cy="58289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Fin</a:t>
            </a:r>
            <a:r>
              <a:rPr lang="fr-FR" sz="1802" b="0" i="0" spc="497" baseline="0" dirty="0">
                <a:solidFill>
                  <a:srgbClr val="555555"/>
                </a:solidFill>
                <a:latin typeface="Arial"/>
              </a:rPr>
              <a:t>d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partne</a:t>
            </a:r>
            <a:r>
              <a:rPr lang="fr-FR" sz="1802" b="0" i="0" spc="484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0" spc="464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practic</a:t>
            </a:r>
            <a:r>
              <a:rPr lang="fr-FR" sz="1802" b="0" i="0" spc="512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anytime</a:t>
            </a:r>
          </a:p>
          <a:p>
            <a:pPr marL="0">
              <a:lnSpc>
                <a:spcPts val="2178"/>
              </a:lnSpc>
            </a:pP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(throug</a:t>
            </a:r>
            <a:r>
              <a:rPr lang="fr-FR" sz="1802" b="0" i="0" spc="440" baseline="0" dirty="0">
                <a:solidFill>
                  <a:srgbClr val="555555"/>
                </a:solidFill>
                <a:latin typeface="Arial"/>
              </a:rPr>
              <a:t>h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Skype)</a:t>
            </a:r>
          </a:p>
        </p:txBody>
      </p:sp>
      <p:sp>
        <p:nvSpPr>
          <p:cNvPr id="756" name="Rectangle 756"/>
          <p:cNvSpPr/>
          <p:nvPr/>
        </p:nvSpPr>
        <p:spPr>
          <a:xfrm>
            <a:off x="933132" y="4500472"/>
            <a:ext cx="3227711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Discove</a:t>
            </a:r>
            <a:r>
              <a:rPr lang="fr-FR" sz="1802" b="0" i="0" spc="482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about basi</a:t>
            </a:r>
            <a:r>
              <a:rPr lang="fr-FR" sz="1802" b="0" i="0" spc="474" baseline="0" dirty="0">
                <a:solidFill>
                  <a:srgbClr val="555555"/>
                </a:solidFill>
                <a:latin typeface="Arial"/>
              </a:rPr>
              <a:t>c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framework</a:t>
            </a:r>
          </a:p>
        </p:txBody>
      </p:sp>
      <p:sp>
        <p:nvSpPr>
          <p:cNvPr id="757" name="Rectangle 757"/>
          <p:cNvSpPr/>
          <p:nvPr/>
        </p:nvSpPr>
        <p:spPr>
          <a:xfrm>
            <a:off x="933132" y="5049747"/>
            <a:ext cx="3203694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Lear</a:t>
            </a:r>
            <a:r>
              <a:rPr lang="fr-FR" sz="1802" b="0" i="0" spc="465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abou</a:t>
            </a:r>
            <a:r>
              <a:rPr lang="fr-FR" sz="1802" b="0" i="0" spc="502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555555"/>
                </a:solidFill>
                <a:latin typeface="Arial"/>
              </a:rPr>
              <a:t>industries overview</a:t>
            </a:r>
          </a:p>
        </p:txBody>
      </p:sp>
      <p:sp>
        <p:nvSpPr>
          <p:cNvPr id="758" name="Rectangle 758"/>
          <p:cNvSpPr/>
          <p:nvPr/>
        </p:nvSpPr>
        <p:spPr>
          <a:xfrm>
            <a:off x="9113901" y="3665853"/>
            <a:ext cx="2634548" cy="9551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027" b="0" i="0" spc="0" baseline="0" dirty="0">
                <a:solidFill>
                  <a:srgbClr val="466CAD"/>
                </a:solidFill>
                <a:latin typeface="Arial"/>
              </a:rPr>
              <a:t>Onc</a:t>
            </a:r>
            <a:r>
              <a:rPr lang="fr-FR" sz="2027" b="0" i="0" spc="468" baseline="0" dirty="0">
                <a:solidFill>
                  <a:srgbClr val="466CAD"/>
                </a:solidFill>
                <a:latin typeface="Arial"/>
              </a:rPr>
              <a:t>e</a:t>
            </a:r>
            <a:r>
              <a:rPr lang="fr-FR" sz="2027" b="0" i="0" spc="0" baseline="0" dirty="0">
                <a:solidFill>
                  <a:srgbClr val="466CAD"/>
                </a:solidFill>
                <a:latin typeface="Arial"/>
              </a:rPr>
              <a:t>yo</a:t>
            </a:r>
            <a:r>
              <a:rPr lang="fr-FR" sz="2027" b="0" i="0" spc="508" baseline="0" dirty="0">
                <a:solidFill>
                  <a:srgbClr val="466CAD"/>
                </a:solidFill>
                <a:latin typeface="Arial"/>
              </a:rPr>
              <a:t>u</a:t>
            </a:r>
            <a:r>
              <a:rPr lang="fr-FR" sz="2027" b="0" i="0" spc="0" baseline="0" dirty="0">
                <a:solidFill>
                  <a:srgbClr val="466CAD"/>
                </a:solidFill>
                <a:latin typeface="Arial"/>
              </a:rPr>
              <a:t>fee</a:t>
            </a:r>
            <a:r>
              <a:rPr lang="fr-FR" sz="2027" b="0" i="0" spc="517" baseline="0" dirty="0">
                <a:solidFill>
                  <a:srgbClr val="466CAD"/>
                </a:solidFill>
                <a:latin typeface="Arial"/>
              </a:rPr>
              <a:t>l</a:t>
            </a:r>
            <a:r>
              <a:rPr lang="fr-FR" sz="2027" b="0" i="0" spc="0" baseline="0" dirty="0">
                <a:solidFill>
                  <a:srgbClr val="466CAD"/>
                </a:solidFill>
                <a:latin typeface="Arial"/>
              </a:rPr>
              <a:t>ready, </a:t>
            </a:r>
          </a:p>
          <a:p>
            <a:pPr marL="0">
              <a:lnSpc>
                <a:spcPts val="2405"/>
              </a:lnSpc>
            </a:pPr>
            <a:r>
              <a:rPr lang="fr-FR" sz="2027" b="0" i="0" spc="0" baseline="0" dirty="0">
                <a:solidFill>
                  <a:srgbClr val="466CAD"/>
                </a:solidFill>
                <a:latin typeface="Arial"/>
              </a:rPr>
              <a:t>tr</a:t>
            </a:r>
            <a:r>
              <a:rPr lang="fr-FR" sz="2027" b="0" i="0" spc="510" baseline="0" dirty="0">
                <a:solidFill>
                  <a:srgbClr val="466CAD"/>
                </a:solidFill>
                <a:latin typeface="Arial"/>
              </a:rPr>
              <a:t>y</a:t>
            </a:r>
            <a:r>
              <a:rPr lang="fr-FR" sz="2027" b="0" i="0" spc="0" baseline="0" dirty="0">
                <a:solidFill>
                  <a:srgbClr val="466CAD"/>
                </a:solidFill>
                <a:latin typeface="Arial"/>
              </a:rPr>
              <a:t>t</a:t>
            </a:r>
            <a:r>
              <a:rPr lang="fr-FR" sz="2027" b="0" i="0" spc="539" baseline="0" dirty="0">
                <a:solidFill>
                  <a:srgbClr val="466CAD"/>
                </a:solidFill>
                <a:latin typeface="Arial"/>
              </a:rPr>
              <a:t>o</a:t>
            </a:r>
            <a:r>
              <a:rPr lang="fr-FR" sz="2027" b="0" i="0" spc="0" baseline="0" dirty="0">
                <a:solidFill>
                  <a:srgbClr val="466CAD"/>
                </a:solidFill>
                <a:latin typeface="Arial"/>
              </a:rPr>
              <a:t>d</a:t>
            </a:r>
            <a:r>
              <a:rPr lang="fr-FR" sz="2027" b="0" i="0" spc="497" baseline="0" dirty="0">
                <a:solidFill>
                  <a:srgbClr val="466CAD"/>
                </a:solidFill>
                <a:latin typeface="Arial"/>
              </a:rPr>
              <a:t>o</a:t>
            </a:r>
            <a:r>
              <a:rPr lang="fr-FR" sz="2027" b="0" i="0" spc="513" baseline="0" dirty="0">
                <a:solidFill>
                  <a:srgbClr val="466CAD"/>
                </a:solidFill>
                <a:latin typeface="Arial"/>
              </a:rPr>
              <a:t>a</a:t>
            </a:r>
            <a:r>
              <a:rPr lang="fr-FR" sz="2027" b="0" i="0" spc="0" baseline="0" dirty="0">
                <a:solidFill>
                  <a:srgbClr val="466CAD"/>
                </a:solidFill>
                <a:latin typeface="Arial"/>
              </a:rPr>
              <a:t>cas</a:t>
            </a:r>
            <a:r>
              <a:rPr lang="fr-FR" sz="2027" b="0" i="0" spc="466" baseline="0" dirty="0">
                <a:solidFill>
                  <a:srgbClr val="466CAD"/>
                </a:solidFill>
                <a:latin typeface="Arial"/>
              </a:rPr>
              <a:t>e</a:t>
            </a:r>
            <a:r>
              <a:rPr lang="fr-FR" sz="2027" b="0" i="0" spc="0" baseline="0" dirty="0">
                <a:solidFill>
                  <a:srgbClr val="466CAD"/>
                </a:solidFill>
                <a:latin typeface="Arial"/>
              </a:rPr>
              <a:t>with</a:t>
            </a:r>
          </a:p>
          <a:p>
            <a:pPr marL="0">
              <a:lnSpc>
                <a:spcPts val="2403"/>
              </a:lnSpc>
            </a:pPr>
            <a:r>
              <a:rPr lang="fr-FR" sz="2027" b="0" i="0" spc="514" baseline="0" dirty="0">
                <a:solidFill>
                  <a:srgbClr val="466CAD"/>
                </a:solidFill>
                <a:latin typeface="Arial"/>
              </a:rPr>
              <a:t>a</a:t>
            </a:r>
            <a:r>
              <a:rPr lang="fr-FR" sz="2027" b="0" i="0" spc="0" baseline="0" dirty="0">
                <a:solidFill>
                  <a:srgbClr val="466CAD"/>
                </a:solidFill>
                <a:latin typeface="Arial"/>
              </a:rPr>
              <a:t>consultan</a:t>
            </a:r>
            <a:r>
              <a:rPr lang="fr-FR" sz="2027" b="0" i="0" spc="470" baseline="0" dirty="0">
                <a:solidFill>
                  <a:srgbClr val="466CAD"/>
                </a:solidFill>
                <a:latin typeface="Arial"/>
              </a:rPr>
              <a:t>t</a:t>
            </a:r>
            <a:r>
              <a:rPr lang="fr-FR" sz="2027" b="0" i="0" spc="498" baseline="0" dirty="0">
                <a:solidFill>
                  <a:srgbClr val="466CAD"/>
                </a:solidFill>
                <a:latin typeface="Arial"/>
              </a:rPr>
              <a:t>/</a:t>
            </a:r>
            <a:r>
              <a:rPr lang="fr-FR" sz="2027" b="0" i="0" spc="0" baseline="0" dirty="0">
                <a:solidFill>
                  <a:srgbClr val="466CAD"/>
                </a:solidFill>
                <a:latin typeface="Arial"/>
              </a:rPr>
              <a:t>manager </a:t>
            </a:r>
          </a:p>
        </p:txBody>
      </p:sp>
      <p:sp>
        <p:nvSpPr>
          <p:cNvPr id="759" name="Rectangle 759"/>
          <p:cNvSpPr/>
          <p:nvPr/>
        </p:nvSpPr>
        <p:spPr>
          <a:xfrm>
            <a:off x="9113901" y="4581523"/>
            <a:ext cx="1758126" cy="64995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027" b="0" i="0" spc="0" baseline="0" dirty="0">
                <a:solidFill>
                  <a:srgbClr val="466CAD"/>
                </a:solidFill>
                <a:latin typeface="Arial"/>
              </a:rPr>
              <a:t>from strategy </a:t>
            </a:r>
          </a:p>
          <a:p>
            <a:pPr marL="0">
              <a:lnSpc>
                <a:spcPts val="2405"/>
              </a:lnSpc>
            </a:pPr>
            <a:r>
              <a:rPr lang="fr-FR" sz="2027" b="0" i="0" spc="0" baseline="0" dirty="0">
                <a:solidFill>
                  <a:srgbClr val="466CAD"/>
                </a:solidFill>
                <a:latin typeface="Arial"/>
              </a:rPr>
              <a:t>consultin</a:t>
            </a:r>
            <a:r>
              <a:rPr lang="fr-FR" sz="2027" b="0" i="0" spc="526" baseline="0" dirty="0">
                <a:solidFill>
                  <a:srgbClr val="466CAD"/>
                </a:solidFill>
                <a:latin typeface="Arial"/>
              </a:rPr>
              <a:t>g</a:t>
            </a:r>
            <a:r>
              <a:rPr lang="fr-FR" sz="2027" b="0" i="0" spc="0" baseline="0" dirty="0">
                <a:solidFill>
                  <a:srgbClr val="466CAD"/>
                </a:solidFill>
                <a:latin typeface="Arial"/>
              </a:rPr>
              <a:t>firms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0" name="Freeform 760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61" name="Freeform 76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010304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62" name="Freeform 762"/>
          <p:cNvSpPr/>
          <p:nvPr/>
        </p:nvSpPr>
        <p:spPr>
          <a:xfrm>
            <a:off x="647700" y="1571614"/>
            <a:ext cx="971296" cy="56908"/>
          </a:xfrm>
          <a:custGeom>
            <a:avLst/>
            <a:gdLst/>
            <a:ahLst/>
            <a:cxnLst/>
            <a:rect l="0" t="0" r="0" b="0"/>
            <a:pathLst>
              <a:path w="971296" h="56908">
                <a:moveTo>
                  <a:pt x="0" y="56908"/>
                </a:moveTo>
                <a:lnTo>
                  <a:pt x="971296" y="56908"/>
                </a:lnTo>
                <a:lnTo>
                  <a:pt x="971296" y="0"/>
                </a:lnTo>
                <a:lnTo>
                  <a:pt x="0" y="0"/>
                </a:lnTo>
                <a:lnTo>
                  <a:pt x="0" y="56908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63" name="Freeform 763"/>
          <p:cNvSpPr/>
          <p:nvPr/>
        </p:nvSpPr>
        <p:spPr>
          <a:xfrm>
            <a:off x="652462" y="1576440"/>
            <a:ext cx="971296" cy="56907"/>
          </a:xfrm>
          <a:custGeom>
            <a:avLst/>
            <a:gdLst/>
            <a:ahLst/>
            <a:cxnLst/>
            <a:rect l="0" t="0" r="0" b="0"/>
            <a:pathLst>
              <a:path w="971296" h="56907">
                <a:moveTo>
                  <a:pt x="0" y="56907"/>
                </a:moveTo>
                <a:lnTo>
                  <a:pt x="971296" y="56907"/>
                </a:lnTo>
                <a:lnTo>
                  <a:pt x="971296" y="0"/>
                </a:lnTo>
                <a:lnTo>
                  <a:pt x="0" y="0"/>
                </a:lnTo>
                <a:lnTo>
                  <a:pt x="0" y="56907"/>
                </a:lnTo>
                <a:close/>
              </a:path>
            </a:pathLst>
          </a:custGeom>
          <a:noFill/>
          <a:ln w="10667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764" name="Picture 764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38125" y="2276474"/>
            <a:ext cx="7924800" cy="4495800"/>
          </a:xfrm>
          <a:prstGeom prst="rect">
            <a:avLst/>
          </a:prstGeom>
          <a:noFill/>
        </p:spPr>
      </p:pic>
      <p:sp>
        <p:nvSpPr>
          <p:cNvPr id="765" name="Freeform 765"/>
          <p:cNvSpPr/>
          <p:nvPr/>
        </p:nvSpPr>
        <p:spPr>
          <a:xfrm>
            <a:off x="723900" y="3110866"/>
            <a:ext cx="761111" cy="99821"/>
          </a:xfrm>
          <a:custGeom>
            <a:avLst/>
            <a:gdLst/>
            <a:ahLst/>
            <a:cxnLst/>
            <a:rect l="0" t="0" r="0" b="0"/>
            <a:pathLst>
              <a:path w="761111" h="99821">
                <a:moveTo>
                  <a:pt x="761111" y="56261"/>
                </a:moveTo>
                <a:lnTo>
                  <a:pt x="740410" y="22732"/>
                </a:lnTo>
                <a:lnTo>
                  <a:pt x="688847" y="15875"/>
                </a:lnTo>
                <a:lnTo>
                  <a:pt x="637413" y="10159"/>
                </a:lnTo>
                <a:lnTo>
                  <a:pt x="585850" y="5714"/>
                </a:lnTo>
                <a:lnTo>
                  <a:pt x="534263" y="2539"/>
                </a:lnTo>
                <a:lnTo>
                  <a:pt x="482663" y="634"/>
                </a:lnTo>
                <a:lnTo>
                  <a:pt x="431076" y="0"/>
                </a:lnTo>
                <a:lnTo>
                  <a:pt x="379501" y="634"/>
                </a:lnTo>
                <a:lnTo>
                  <a:pt x="327977" y="2539"/>
                </a:lnTo>
                <a:lnTo>
                  <a:pt x="276504" y="5714"/>
                </a:lnTo>
                <a:lnTo>
                  <a:pt x="225094" y="10159"/>
                </a:lnTo>
                <a:lnTo>
                  <a:pt x="173786" y="15875"/>
                </a:lnTo>
                <a:lnTo>
                  <a:pt x="122580" y="22859"/>
                </a:lnTo>
                <a:lnTo>
                  <a:pt x="71488" y="31114"/>
                </a:lnTo>
                <a:lnTo>
                  <a:pt x="20561" y="40639"/>
                </a:lnTo>
                <a:lnTo>
                  <a:pt x="0" y="75945"/>
                </a:lnTo>
                <a:lnTo>
                  <a:pt x="12801" y="94869"/>
                </a:lnTo>
                <a:lnTo>
                  <a:pt x="36893" y="99821"/>
                </a:lnTo>
                <a:lnTo>
                  <a:pt x="85356" y="90805"/>
                </a:lnTo>
                <a:lnTo>
                  <a:pt x="134023" y="82931"/>
                </a:lnTo>
                <a:lnTo>
                  <a:pt x="182867" y="76200"/>
                </a:lnTo>
                <a:lnTo>
                  <a:pt x="231876" y="70738"/>
                </a:lnTo>
                <a:lnTo>
                  <a:pt x="281000" y="66420"/>
                </a:lnTo>
                <a:lnTo>
                  <a:pt x="330212" y="63245"/>
                </a:lnTo>
                <a:lnTo>
                  <a:pt x="379501" y="61340"/>
                </a:lnTo>
                <a:lnTo>
                  <a:pt x="428828" y="60579"/>
                </a:lnTo>
                <a:lnTo>
                  <a:pt x="478167" y="61087"/>
                </a:lnTo>
                <a:lnTo>
                  <a:pt x="527481" y="62738"/>
                </a:lnTo>
                <a:lnTo>
                  <a:pt x="576707" y="65531"/>
                </a:lnTo>
                <a:lnTo>
                  <a:pt x="625983" y="69723"/>
                </a:lnTo>
                <a:lnTo>
                  <a:pt x="675005" y="74930"/>
                </a:lnTo>
                <a:lnTo>
                  <a:pt x="724027" y="81406"/>
                </a:lnTo>
                <a:lnTo>
                  <a:pt x="748157" y="75438"/>
                </a:lnTo>
                <a:lnTo>
                  <a:pt x="761111" y="56261"/>
                </a:lnTo>
                <a:close/>
                <a:moveTo>
                  <a:pt x="2966973" y="3747134"/>
                </a:moveTo>
              </a:path>
            </a:pathLst>
          </a:custGeom>
          <a:solidFill>
            <a:srgbClr val="EBBD1F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66" name="Freeform 766"/>
          <p:cNvSpPr/>
          <p:nvPr/>
        </p:nvSpPr>
        <p:spPr>
          <a:xfrm>
            <a:off x="1695704" y="2247900"/>
            <a:ext cx="275463" cy="458471"/>
          </a:xfrm>
          <a:custGeom>
            <a:avLst/>
            <a:gdLst/>
            <a:ahLst/>
            <a:cxnLst/>
            <a:rect l="0" t="0" r="0" b="0"/>
            <a:pathLst>
              <a:path w="275463" h="458471">
                <a:moveTo>
                  <a:pt x="275463" y="422148"/>
                </a:moveTo>
                <a:lnTo>
                  <a:pt x="259460" y="375921"/>
                </a:lnTo>
                <a:lnTo>
                  <a:pt x="240791" y="330709"/>
                </a:lnTo>
                <a:lnTo>
                  <a:pt x="220218" y="286385"/>
                </a:lnTo>
                <a:lnTo>
                  <a:pt x="198628" y="242316"/>
                </a:lnTo>
                <a:lnTo>
                  <a:pt x="177038" y="198629"/>
                </a:lnTo>
                <a:lnTo>
                  <a:pt x="156210" y="157227"/>
                </a:lnTo>
                <a:lnTo>
                  <a:pt x="134112" y="116841"/>
                </a:lnTo>
                <a:lnTo>
                  <a:pt x="109854" y="77979"/>
                </a:lnTo>
                <a:lnTo>
                  <a:pt x="82676" y="40895"/>
                </a:lnTo>
                <a:lnTo>
                  <a:pt x="51943" y="6097"/>
                </a:lnTo>
                <a:lnTo>
                  <a:pt x="36322" y="0"/>
                </a:lnTo>
                <a:lnTo>
                  <a:pt x="24003" y="0"/>
                </a:lnTo>
                <a:lnTo>
                  <a:pt x="9651" y="6985"/>
                </a:lnTo>
                <a:lnTo>
                  <a:pt x="0" y="27052"/>
                </a:lnTo>
                <a:lnTo>
                  <a:pt x="9016" y="49530"/>
                </a:lnTo>
                <a:lnTo>
                  <a:pt x="43941" y="90297"/>
                </a:lnTo>
                <a:lnTo>
                  <a:pt x="73787" y="134621"/>
                </a:lnTo>
                <a:lnTo>
                  <a:pt x="100203" y="181229"/>
                </a:lnTo>
                <a:lnTo>
                  <a:pt x="124460" y="229235"/>
                </a:lnTo>
                <a:lnTo>
                  <a:pt x="144525" y="270256"/>
                </a:lnTo>
                <a:lnTo>
                  <a:pt x="164719" y="311404"/>
                </a:lnTo>
                <a:lnTo>
                  <a:pt x="183896" y="353060"/>
                </a:lnTo>
                <a:lnTo>
                  <a:pt x="201548" y="395352"/>
                </a:lnTo>
                <a:lnTo>
                  <a:pt x="216788" y="438531"/>
                </a:lnTo>
                <a:lnTo>
                  <a:pt x="232410" y="457073"/>
                </a:lnTo>
                <a:lnTo>
                  <a:pt x="254762" y="458471"/>
                </a:lnTo>
                <a:lnTo>
                  <a:pt x="272922" y="445897"/>
                </a:lnTo>
                <a:lnTo>
                  <a:pt x="275463" y="422148"/>
                </a:lnTo>
                <a:close/>
                <a:moveTo>
                  <a:pt x="2492248" y="4610100"/>
                </a:moveTo>
              </a:path>
            </a:pathLst>
          </a:custGeom>
          <a:solidFill>
            <a:srgbClr val="EBBD1F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67" name="Freeform 767"/>
          <p:cNvSpPr/>
          <p:nvPr/>
        </p:nvSpPr>
        <p:spPr>
          <a:xfrm>
            <a:off x="2685923" y="2418716"/>
            <a:ext cx="82169" cy="257301"/>
          </a:xfrm>
          <a:custGeom>
            <a:avLst/>
            <a:gdLst/>
            <a:ahLst/>
            <a:cxnLst/>
            <a:rect l="0" t="0" r="0" b="0"/>
            <a:pathLst>
              <a:path w="82169" h="257301">
                <a:moveTo>
                  <a:pt x="82169" y="175513"/>
                </a:moveTo>
                <a:lnTo>
                  <a:pt x="78994" y="123189"/>
                </a:lnTo>
                <a:lnTo>
                  <a:pt x="71247" y="71374"/>
                </a:lnTo>
                <a:lnTo>
                  <a:pt x="59309" y="20193"/>
                </a:lnTo>
                <a:lnTo>
                  <a:pt x="21590" y="0"/>
                </a:lnTo>
                <a:lnTo>
                  <a:pt x="3302" y="12700"/>
                </a:lnTo>
                <a:lnTo>
                  <a:pt x="0" y="36449"/>
                </a:lnTo>
                <a:lnTo>
                  <a:pt x="11303" y="83946"/>
                </a:lnTo>
                <a:lnTo>
                  <a:pt x="18160" y="131444"/>
                </a:lnTo>
                <a:lnTo>
                  <a:pt x="20828" y="179324"/>
                </a:lnTo>
                <a:lnTo>
                  <a:pt x="19431" y="227838"/>
                </a:lnTo>
                <a:lnTo>
                  <a:pt x="27304" y="249936"/>
                </a:lnTo>
                <a:lnTo>
                  <a:pt x="47752" y="257301"/>
                </a:lnTo>
                <a:lnTo>
                  <a:pt x="69341" y="249936"/>
                </a:lnTo>
                <a:lnTo>
                  <a:pt x="80644" y="227838"/>
                </a:lnTo>
                <a:lnTo>
                  <a:pt x="82169" y="175513"/>
                </a:lnTo>
                <a:close/>
                <a:moveTo>
                  <a:pt x="1577848" y="4439284"/>
                </a:moveTo>
              </a:path>
            </a:pathLst>
          </a:custGeom>
          <a:solidFill>
            <a:srgbClr val="EBBD1F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68" name="Freeform 768"/>
          <p:cNvSpPr/>
          <p:nvPr/>
        </p:nvSpPr>
        <p:spPr>
          <a:xfrm>
            <a:off x="3537077" y="2516886"/>
            <a:ext cx="835787" cy="448056"/>
          </a:xfrm>
          <a:custGeom>
            <a:avLst/>
            <a:gdLst/>
            <a:ahLst/>
            <a:cxnLst/>
            <a:rect l="0" t="0" r="0" b="0"/>
            <a:pathLst>
              <a:path w="835787" h="448056">
                <a:moveTo>
                  <a:pt x="835787" y="36449"/>
                </a:moveTo>
                <a:lnTo>
                  <a:pt x="831976" y="14986"/>
                </a:lnTo>
                <a:lnTo>
                  <a:pt x="814832" y="0"/>
                </a:lnTo>
                <a:lnTo>
                  <a:pt x="790194" y="1651"/>
                </a:lnTo>
                <a:lnTo>
                  <a:pt x="14732" y="393574"/>
                </a:lnTo>
                <a:lnTo>
                  <a:pt x="0" y="411861"/>
                </a:lnTo>
                <a:lnTo>
                  <a:pt x="4063" y="433324"/>
                </a:lnTo>
                <a:lnTo>
                  <a:pt x="21208" y="448056"/>
                </a:lnTo>
                <a:lnTo>
                  <a:pt x="45846" y="446279"/>
                </a:lnTo>
                <a:lnTo>
                  <a:pt x="820801" y="54611"/>
                </a:lnTo>
                <a:lnTo>
                  <a:pt x="835787" y="36449"/>
                </a:lnTo>
                <a:close/>
                <a:moveTo>
                  <a:pt x="767588" y="4341114"/>
                </a:moveTo>
              </a:path>
            </a:pathLst>
          </a:custGeom>
          <a:solidFill>
            <a:srgbClr val="EBBD1F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69" name="Freeform 769"/>
          <p:cNvSpPr/>
          <p:nvPr/>
        </p:nvSpPr>
        <p:spPr>
          <a:xfrm>
            <a:off x="4016375" y="4426586"/>
            <a:ext cx="389890" cy="307085"/>
          </a:xfrm>
          <a:custGeom>
            <a:avLst/>
            <a:gdLst/>
            <a:ahLst/>
            <a:cxnLst/>
            <a:rect l="0" t="0" r="0" b="0"/>
            <a:pathLst>
              <a:path w="389890" h="307085">
                <a:moveTo>
                  <a:pt x="389890" y="270510"/>
                </a:moveTo>
                <a:lnTo>
                  <a:pt x="375792" y="250825"/>
                </a:lnTo>
                <a:lnTo>
                  <a:pt x="332232" y="223392"/>
                </a:lnTo>
                <a:lnTo>
                  <a:pt x="289559" y="194310"/>
                </a:lnTo>
                <a:lnTo>
                  <a:pt x="247650" y="163957"/>
                </a:lnTo>
                <a:lnTo>
                  <a:pt x="206247" y="132588"/>
                </a:lnTo>
                <a:lnTo>
                  <a:pt x="165353" y="100710"/>
                </a:lnTo>
                <a:lnTo>
                  <a:pt x="84073" y="36703"/>
                </a:lnTo>
                <a:lnTo>
                  <a:pt x="43434" y="5207"/>
                </a:lnTo>
                <a:lnTo>
                  <a:pt x="21082" y="0"/>
                </a:lnTo>
                <a:lnTo>
                  <a:pt x="4698" y="13842"/>
                </a:lnTo>
                <a:lnTo>
                  <a:pt x="0" y="36575"/>
                </a:lnTo>
                <a:lnTo>
                  <a:pt x="12827" y="58292"/>
                </a:lnTo>
                <a:lnTo>
                  <a:pt x="53466" y="89788"/>
                </a:lnTo>
                <a:lnTo>
                  <a:pt x="134746" y="153797"/>
                </a:lnTo>
                <a:lnTo>
                  <a:pt x="175640" y="185673"/>
                </a:lnTo>
                <a:lnTo>
                  <a:pt x="217042" y="217042"/>
                </a:lnTo>
                <a:lnTo>
                  <a:pt x="258953" y="247395"/>
                </a:lnTo>
                <a:lnTo>
                  <a:pt x="301625" y="276479"/>
                </a:lnTo>
                <a:lnTo>
                  <a:pt x="345059" y="303910"/>
                </a:lnTo>
                <a:lnTo>
                  <a:pt x="368808" y="307085"/>
                </a:lnTo>
                <a:lnTo>
                  <a:pt x="385698" y="292607"/>
                </a:lnTo>
                <a:lnTo>
                  <a:pt x="389890" y="270510"/>
                </a:lnTo>
                <a:close/>
                <a:moveTo>
                  <a:pt x="-1855471" y="2431414"/>
                </a:moveTo>
              </a:path>
            </a:pathLst>
          </a:custGeom>
          <a:solidFill>
            <a:srgbClr val="EBBD1F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70" name="Freeform 770"/>
          <p:cNvSpPr/>
          <p:nvPr/>
        </p:nvSpPr>
        <p:spPr>
          <a:xfrm>
            <a:off x="4089653" y="3611499"/>
            <a:ext cx="939547" cy="284988"/>
          </a:xfrm>
          <a:custGeom>
            <a:avLst/>
            <a:gdLst/>
            <a:ahLst/>
            <a:cxnLst/>
            <a:rect l="0" t="0" r="0" b="0"/>
            <a:pathLst>
              <a:path w="939547" h="284988">
                <a:moveTo>
                  <a:pt x="939547" y="248794"/>
                </a:moveTo>
                <a:lnTo>
                  <a:pt x="876555" y="211456"/>
                </a:lnTo>
                <a:lnTo>
                  <a:pt x="828675" y="192025"/>
                </a:lnTo>
                <a:lnTo>
                  <a:pt x="780543" y="173482"/>
                </a:lnTo>
                <a:lnTo>
                  <a:pt x="732029" y="155829"/>
                </a:lnTo>
                <a:lnTo>
                  <a:pt x="683261" y="139066"/>
                </a:lnTo>
                <a:lnTo>
                  <a:pt x="634238" y="123063"/>
                </a:lnTo>
                <a:lnTo>
                  <a:pt x="584962" y="107950"/>
                </a:lnTo>
                <a:lnTo>
                  <a:pt x="535560" y="93726"/>
                </a:lnTo>
                <a:lnTo>
                  <a:pt x="485775" y="80391"/>
                </a:lnTo>
                <a:lnTo>
                  <a:pt x="435864" y="67946"/>
                </a:lnTo>
                <a:lnTo>
                  <a:pt x="385700" y="56388"/>
                </a:lnTo>
                <a:lnTo>
                  <a:pt x="335281" y="45594"/>
                </a:lnTo>
                <a:lnTo>
                  <a:pt x="284735" y="35815"/>
                </a:lnTo>
                <a:lnTo>
                  <a:pt x="234062" y="26797"/>
                </a:lnTo>
                <a:lnTo>
                  <a:pt x="183135" y="18797"/>
                </a:lnTo>
                <a:lnTo>
                  <a:pt x="131954" y="11684"/>
                </a:lnTo>
                <a:lnTo>
                  <a:pt x="80773" y="5334"/>
                </a:lnTo>
                <a:lnTo>
                  <a:pt x="29337" y="0"/>
                </a:lnTo>
                <a:lnTo>
                  <a:pt x="7239" y="7494"/>
                </a:lnTo>
                <a:lnTo>
                  <a:pt x="0" y="27941"/>
                </a:lnTo>
                <a:lnTo>
                  <a:pt x="7493" y="49657"/>
                </a:lnTo>
                <a:lnTo>
                  <a:pt x="29337" y="61215"/>
                </a:lnTo>
                <a:lnTo>
                  <a:pt x="78868" y="66422"/>
                </a:lnTo>
                <a:lnTo>
                  <a:pt x="128270" y="72518"/>
                </a:lnTo>
                <a:lnTo>
                  <a:pt x="177674" y="79375"/>
                </a:lnTo>
                <a:lnTo>
                  <a:pt x="226823" y="87122"/>
                </a:lnTo>
                <a:lnTo>
                  <a:pt x="275844" y="95885"/>
                </a:lnTo>
                <a:lnTo>
                  <a:pt x="324739" y="105284"/>
                </a:lnTo>
                <a:lnTo>
                  <a:pt x="373381" y="115697"/>
                </a:lnTo>
                <a:lnTo>
                  <a:pt x="421894" y="126874"/>
                </a:lnTo>
                <a:lnTo>
                  <a:pt x="470155" y="138812"/>
                </a:lnTo>
                <a:lnTo>
                  <a:pt x="518287" y="151766"/>
                </a:lnTo>
                <a:lnTo>
                  <a:pt x="566167" y="165481"/>
                </a:lnTo>
                <a:lnTo>
                  <a:pt x="613664" y="179959"/>
                </a:lnTo>
                <a:lnTo>
                  <a:pt x="661036" y="195326"/>
                </a:lnTo>
                <a:lnTo>
                  <a:pt x="708025" y="211456"/>
                </a:lnTo>
                <a:lnTo>
                  <a:pt x="754762" y="228474"/>
                </a:lnTo>
                <a:lnTo>
                  <a:pt x="801243" y="246253"/>
                </a:lnTo>
                <a:lnTo>
                  <a:pt x="847344" y="264922"/>
                </a:lnTo>
                <a:lnTo>
                  <a:pt x="893064" y="284353"/>
                </a:lnTo>
                <a:lnTo>
                  <a:pt x="918083" y="284988"/>
                </a:lnTo>
                <a:lnTo>
                  <a:pt x="935482" y="269875"/>
                </a:lnTo>
                <a:lnTo>
                  <a:pt x="939547" y="248794"/>
                </a:lnTo>
                <a:close/>
                <a:moveTo>
                  <a:pt x="-1091946" y="3246501"/>
                </a:moveTo>
              </a:path>
            </a:pathLst>
          </a:custGeom>
          <a:solidFill>
            <a:srgbClr val="EBBD1F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771" name="Picture 661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00125" y="3876675"/>
            <a:ext cx="180975" cy="152400"/>
          </a:xfrm>
          <a:prstGeom prst="rect">
            <a:avLst/>
          </a:prstGeom>
          <a:noFill/>
        </p:spPr>
      </p:pic>
      <p:sp>
        <p:nvSpPr>
          <p:cNvPr id="772" name="Freeform 772"/>
          <p:cNvSpPr/>
          <p:nvPr/>
        </p:nvSpPr>
        <p:spPr>
          <a:xfrm>
            <a:off x="828675" y="4505325"/>
            <a:ext cx="401066" cy="644399"/>
          </a:xfrm>
          <a:custGeom>
            <a:avLst/>
            <a:gdLst/>
            <a:ahLst/>
            <a:cxnLst/>
            <a:rect l="0" t="0" r="0" b="0"/>
            <a:pathLst>
              <a:path w="401066" h="644399">
                <a:moveTo>
                  <a:pt x="401066" y="21336"/>
                </a:moveTo>
                <a:lnTo>
                  <a:pt x="387273" y="4827"/>
                </a:lnTo>
                <a:lnTo>
                  <a:pt x="364451" y="0"/>
                </a:lnTo>
                <a:lnTo>
                  <a:pt x="342607" y="12446"/>
                </a:lnTo>
                <a:lnTo>
                  <a:pt x="313029" y="52071"/>
                </a:lnTo>
                <a:lnTo>
                  <a:pt x="284251" y="92075"/>
                </a:lnTo>
                <a:lnTo>
                  <a:pt x="256247" y="132715"/>
                </a:lnTo>
                <a:lnTo>
                  <a:pt x="229031" y="173864"/>
                </a:lnTo>
                <a:lnTo>
                  <a:pt x="202603" y="215393"/>
                </a:lnTo>
                <a:lnTo>
                  <a:pt x="176961" y="257430"/>
                </a:lnTo>
                <a:lnTo>
                  <a:pt x="152095" y="299848"/>
                </a:lnTo>
                <a:lnTo>
                  <a:pt x="128016" y="342774"/>
                </a:lnTo>
                <a:lnTo>
                  <a:pt x="104724" y="386080"/>
                </a:lnTo>
                <a:lnTo>
                  <a:pt x="82207" y="429896"/>
                </a:lnTo>
                <a:lnTo>
                  <a:pt x="60477" y="474092"/>
                </a:lnTo>
                <a:lnTo>
                  <a:pt x="39522" y="518796"/>
                </a:lnTo>
                <a:lnTo>
                  <a:pt x="19380" y="563753"/>
                </a:lnTo>
                <a:lnTo>
                  <a:pt x="0" y="609093"/>
                </a:lnTo>
                <a:lnTo>
                  <a:pt x="635" y="632080"/>
                </a:lnTo>
                <a:lnTo>
                  <a:pt x="18161" y="644399"/>
                </a:lnTo>
                <a:lnTo>
                  <a:pt x="41465" y="643128"/>
                </a:lnTo>
                <a:lnTo>
                  <a:pt x="59397" y="625475"/>
                </a:lnTo>
                <a:lnTo>
                  <a:pt x="79857" y="577850"/>
                </a:lnTo>
                <a:lnTo>
                  <a:pt x="101244" y="530606"/>
                </a:lnTo>
                <a:lnTo>
                  <a:pt x="123583" y="483743"/>
                </a:lnTo>
                <a:lnTo>
                  <a:pt x="146862" y="437515"/>
                </a:lnTo>
                <a:lnTo>
                  <a:pt x="171043" y="391668"/>
                </a:lnTo>
                <a:lnTo>
                  <a:pt x="196113" y="346330"/>
                </a:lnTo>
                <a:lnTo>
                  <a:pt x="222097" y="301499"/>
                </a:lnTo>
                <a:lnTo>
                  <a:pt x="248945" y="257175"/>
                </a:lnTo>
                <a:lnTo>
                  <a:pt x="276644" y="213361"/>
                </a:lnTo>
                <a:lnTo>
                  <a:pt x="305206" y="170053"/>
                </a:lnTo>
                <a:lnTo>
                  <a:pt x="334606" y="127381"/>
                </a:lnTo>
                <a:lnTo>
                  <a:pt x="364832" y="85218"/>
                </a:lnTo>
                <a:lnTo>
                  <a:pt x="395858" y="43689"/>
                </a:lnTo>
                <a:lnTo>
                  <a:pt x="401066" y="21336"/>
                </a:lnTo>
                <a:close/>
                <a:moveTo>
                  <a:pt x="1502664" y="2352675"/>
                </a:moveTo>
              </a:path>
            </a:pathLst>
          </a:custGeom>
          <a:solidFill>
            <a:srgbClr val="EBBD1F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73" name="Freeform 773"/>
          <p:cNvSpPr/>
          <p:nvPr/>
        </p:nvSpPr>
        <p:spPr>
          <a:xfrm>
            <a:off x="2336800" y="4721225"/>
            <a:ext cx="89661" cy="622173"/>
          </a:xfrm>
          <a:custGeom>
            <a:avLst/>
            <a:gdLst/>
            <a:ahLst/>
            <a:cxnLst/>
            <a:rect l="0" t="0" r="0" b="0"/>
            <a:pathLst>
              <a:path w="89661" h="622173">
                <a:moveTo>
                  <a:pt x="89661" y="29211"/>
                </a:moveTo>
                <a:lnTo>
                  <a:pt x="82930" y="7367"/>
                </a:lnTo>
                <a:lnTo>
                  <a:pt x="62738" y="0"/>
                </a:lnTo>
                <a:lnTo>
                  <a:pt x="40639" y="7367"/>
                </a:lnTo>
                <a:lnTo>
                  <a:pt x="21844" y="80137"/>
                </a:lnTo>
                <a:lnTo>
                  <a:pt x="16382" y="131192"/>
                </a:lnTo>
                <a:lnTo>
                  <a:pt x="11683" y="182246"/>
                </a:lnTo>
                <a:lnTo>
                  <a:pt x="7747" y="233299"/>
                </a:lnTo>
                <a:lnTo>
                  <a:pt x="4572" y="284480"/>
                </a:lnTo>
                <a:lnTo>
                  <a:pt x="2285" y="335789"/>
                </a:lnTo>
                <a:lnTo>
                  <a:pt x="635" y="387096"/>
                </a:lnTo>
                <a:lnTo>
                  <a:pt x="0" y="438405"/>
                </a:lnTo>
                <a:lnTo>
                  <a:pt x="0" y="489712"/>
                </a:lnTo>
                <a:lnTo>
                  <a:pt x="889" y="541148"/>
                </a:lnTo>
                <a:lnTo>
                  <a:pt x="2667" y="592583"/>
                </a:lnTo>
                <a:lnTo>
                  <a:pt x="13080" y="614808"/>
                </a:lnTo>
                <a:lnTo>
                  <a:pt x="34544" y="622173"/>
                </a:lnTo>
                <a:lnTo>
                  <a:pt x="55372" y="614808"/>
                </a:lnTo>
                <a:lnTo>
                  <a:pt x="64007" y="592583"/>
                </a:lnTo>
                <a:lnTo>
                  <a:pt x="62357" y="541148"/>
                </a:lnTo>
                <a:lnTo>
                  <a:pt x="61467" y="489712"/>
                </a:lnTo>
                <a:lnTo>
                  <a:pt x="61467" y="438405"/>
                </a:lnTo>
                <a:lnTo>
                  <a:pt x="62229" y="387096"/>
                </a:lnTo>
                <a:lnTo>
                  <a:pt x="63754" y="335789"/>
                </a:lnTo>
                <a:lnTo>
                  <a:pt x="66039" y="284480"/>
                </a:lnTo>
                <a:lnTo>
                  <a:pt x="69214" y="233299"/>
                </a:lnTo>
                <a:lnTo>
                  <a:pt x="73151" y="182246"/>
                </a:lnTo>
                <a:lnTo>
                  <a:pt x="77851" y="131192"/>
                </a:lnTo>
                <a:lnTo>
                  <a:pt x="83311" y="80137"/>
                </a:lnTo>
                <a:lnTo>
                  <a:pt x="89661" y="29211"/>
                </a:lnTo>
                <a:close/>
                <a:moveTo>
                  <a:pt x="-229236" y="2136775"/>
                </a:moveTo>
              </a:path>
            </a:pathLst>
          </a:custGeom>
          <a:solidFill>
            <a:srgbClr val="EBBD1F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74" name="Freeform 774"/>
          <p:cNvSpPr/>
          <p:nvPr/>
        </p:nvSpPr>
        <p:spPr>
          <a:xfrm>
            <a:off x="3109086" y="4636262"/>
            <a:ext cx="110109" cy="256668"/>
          </a:xfrm>
          <a:custGeom>
            <a:avLst/>
            <a:gdLst/>
            <a:ahLst/>
            <a:cxnLst/>
            <a:rect l="0" t="0" r="0" b="0"/>
            <a:pathLst>
              <a:path w="110109" h="256668">
                <a:moveTo>
                  <a:pt x="110109" y="219456"/>
                </a:moveTo>
                <a:lnTo>
                  <a:pt x="101219" y="168530"/>
                </a:lnTo>
                <a:lnTo>
                  <a:pt x="89790" y="118237"/>
                </a:lnTo>
                <a:lnTo>
                  <a:pt x="75819" y="68581"/>
                </a:lnTo>
                <a:lnTo>
                  <a:pt x="59437" y="19559"/>
                </a:lnTo>
                <a:lnTo>
                  <a:pt x="19686" y="0"/>
                </a:lnTo>
                <a:lnTo>
                  <a:pt x="1778" y="12446"/>
                </a:lnTo>
                <a:lnTo>
                  <a:pt x="0" y="35941"/>
                </a:lnTo>
                <a:lnTo>
                  <a:pt x="16384" y="84963"/>
                </a:lnTo>
                <a:lnTo>
                  <a:pt x="30353" y="134493"/>
                </a:lnTo>
                <a:lnTo>
                  <a:pt x="41784" y="184786"/>
                </a:lnTo>
                <a:lnTo>
                  <a:pt x="50800" y="235840"/>
                </a:lnTo>
                <a:lnTo>
                  <a:pt x="63500" y="255016"/>
                </a:lnTo>
                <a:lnTo>
                  <a:pt x="85090" y="256668"/>
                </a:lnTo>
                <a:lnTo>
                  <a:pt x="104268" y="243713"/>
                </a:lnTo>
                <a:lnTo>
                  <a:pt x="110109" y="219456"/>
                </a:lnTo>
                <a:close/>
                <a:moveTo>
                  <a:pt x="-1106804" y="2221738"/>
                </a:moveTo>
              </a:path>
            </a:pathLst>
          </a:custGeom>
          <a:solidFill>
            <a:srgbClr val="EBBD1F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75" name="Rectangle 775"/>
          <p:cNvSpPr/>
          <p:nvPr/>
        </p:nvSpPr>
        <p:spPr>
          <a:xfrm>
            <a:off x="11418951" y="6397333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26</a:t>
            </a:r>
          </a:p>
        </p:txBody>
      </p:sp>
      <p:sp>
        <p:nvSpPr>
          <p:cNvPr id="776" name="Rectangle 776"/>
          <p:cNvSpPr/>
          <p:nvPr/>
        </p:nvSpPr>
        <p:spPr>
          <a:xfrm>
            <a:off x="630872" y="459303"/>
            <a:ext cx="8440818" cy="11274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0" i="0" spc="0" baseline="0" dirty="0">
                <a:solidFill>
                  <a:srgbClr val="FFFFFF"/>
                </a:solidFill>
                <a:latin typeface="Arial"/>
              </a:rPr>
              <a:t>Ti</a:t>
            </a:r>
            <a:r>
              <a:rPr lang="fr-FR" sz="3604" b="0" i="0" spc="882" baseline="0" dirty="0">
                <a:solidFill>
                  <a:srgbClr val="FFFFFF"/>
                </a:solidFill>
                <a:latin typeface="Arial"/>
              </a:rPr>
              <a:t>p</a:t>
            </a:r>
            <a:r>
              <a:rPr lang="fr-FR" sz="3604" b="0" i="0" spc="0" baseline="0" dirty="0">
                <a:solidFill>
                  <a:srgbClr val="FFFFFF"/>
                </a:solidFill>
                <a:latin typeface="Arial"/>
              </a:rPr>
              <a:t>no.5</a:t>
            </a:r>
          </a:p>
          <a:p>
            <a:pPr marL="0">
              <a:lnSpc>
                <a:spcPts val="4054"/>
              </a:lnSpc>
            </a:pP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Tal</a:t>
            </a:r>
            <a:r>
              <a:rPr lang="fr-FR" sz="3604" b="1" i="0" spc="879" baseline="0" dirty="0">
                <a:solidFill>
                  <a:srgbClr val="FFFFFF"/>
                </a:solidFill>
                <a:latin typeface="Arial"/>
              </a:rPr>
              <a:t>k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abou</a:t>
            </a:r>
            <a:r>
              <a:rPr lang="fr-FR" sz="3604" b="1" i="0" spc="1030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yoursel</a:t>
            </a:r>
            <a:r>
              <a:rPr lang="fr-FR" sz="3604" b="1" i="0" spc="980" baseline="0" dirty="0">
                <a:solidFill>
                  <a:srgbClr val="FFFFFF"/>
                </a:solidFill>
                <a:latin typeface="Arial"/>
              </a:rPr>
              <a:t>f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i</a:t>
            </a:r>
            <a:r>
              <a:rPr lang="fr-FR" sz="3604" b="1" i="0" spc="1014" baseline="0" dirty="0">
                <a:solidFill>
                  <a:srgbClr val="FFFFFF"/>
                </a:solidFill>
                <a:latin typeface="Arial"/>
              </a:rPr>
              <a:t>n</a:t>
            </a:r>
            <a:r>
              <a:rPr lang="fr-FR" sz="3604" b="1" i="0" spc="977" baseline="0" dirty="0">
                <a:solidFill>
                  <a:srgbClr val="FFFFFF"/>
                </a:solidFill>
                <a:latin typeface="Arial"/>
              </a:rPr>
              <a:t>a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structure</a:t>
            </a:r>
            <a:r>
              <a:rPr lang="fr-FR" sz="3604" b="1" i="0" spc="992" baseline="0" dirty="0">
                <a:solidFill>
                  <a:srgbClr val="FFFFFF"/>
                </a:solidFill>
                <a:latin typeface="Arial"/>
              </a:rPr>
              <a:t>d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way</a:t>
            </a:r>
          </a:p>
        </p:txBody>
      </p:sp>
      <p:sp>
        <p:nvSpPr>
          <p:cNvPr id="777" name="Rectangle 777"/>
          <p:cNvSpPr/>
          <p:nvPr/>
        </p:nvSpPr>
        <p:spPr>
          <a:xfrm>
            <a:off x="6040501" y="2368548"/>
            <a:ext cx="4773067" cy="64970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027" b="1" i="0" spc="0" baseline="0" dirty="0">
                <a:solidFill>
                  <a:srgbClr val="FFFFFF"/>
                </a:solidFill>
                <a:latin typeface="Arial"/>
              </a:rPr>
              <a:t>Fi</a:t>
            </a:r>
            <a:r>
              <a:rPr lang="fr-FR" sz="2027" b="1" i="0" spc="482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2027" b="1" i="0" spc="0" baseline="0" dirty="0">
                <a:solidFill>
                  <a:srgbClr val="FFFFFF"/>
                </a:solidFill>
                <a:latin typeface="Arial"/>
              </a:rPr>
              <a:t>sessio</a:t>
            </a:r>
            <a:r>
              <a:rPr lang="fr-FR" sz="2027" b="1" i="0" spc="496" baseline="0" dirty="0">
                <a:solidFill>
                  <a:srgbClr val="FFFFFF"/>
                </a:solidFill>
                <a:latin typeface="Arial"/>
              </a:rPr>
              <a:t>n</a:t>
            </a:r>
            <a:r>
              <a:rPr lang="fr-FR" sz="2027" b="1" i="0" spc="0" baseline="0" dirty="0">
                <a:solidFill>
                  <a:srgbClr val="FFFFFF"/>
                </a:solidFill>
                <a:latin typeface="Arial"/>
              </a:rPr>
              <a:t>i</a:t>
            </a:r>
            <a:r>
              <a:rPr lang="fr-FR" sz="2027" b="1" i="0" spc="535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2027" b="1" i="0" spc="0" baseline="0" dirty="0">
                <a:solidFill>
                  <a:srgbClr val="FFFFFF"/>
                </a:solidFill>
                <a:latin typeface="Arial"/>
              </a:rPr>
              <a:t>th</a:t>
            </a:r>
            <a:r>
              <a:rPr lang="fr-FR" sz="2027" b="1" i="0" spc="523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2027" b="1" i="0" spc="0" baseline="0" dirty="0">
                <a:solidFill>
                  <a:srgbClr val="FFFFFF"/>
                </a:solidFill>
                <a:latin typeface="Arial"/>
              </a:rPr>
              <a:t>momen</a:t>
            </a:r>
            <a:r>
              <a:rPr lang="fr-FR" sz="2027" b="1" i="0" spc="493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2027" b="1" i="0" spc="0" baseline="0" dirty="0">
                <a:solidFill>
                  <a:srgbClr val="FFFFFF"/>
                </a:solidFill>
                <a:latin typeface="Arial"/>
              </a:rPr>
              <a:t>whe</a:t>
            </a:r>
            <a:r>
              <a:rPr lang="fr-FR" sz="2027" b="1" i="0" spc="503" baseline="0" dirty="0">
                <a:solidFill>
                  <a:srgbClr val="FFFFFF"/>
                </a:solidFill>
                <a:latin typeface="Arial"/>
              </a:rPr>
              <a:t>n</a:t>
            </a:r>
            <a:r>
              <a:rPr lang="fr-FR" sz="2027" b="1" i="0" spc="0" baseline="0" dirty="0">
                <a:solidFill>
                  <a:srgbClr val="FFFFFF"/>
                </a:solidFill>
                <a:latin typeface="Arial"/>
              </a:rPr>
              <a:t>yo</a:t>
            </a:r>
            <a:r>
              <a:rPr lang="fr-FR" sz="2027" b="1" i="0" spc="535" baseline="0" dirty="0">
                <a:solidFill>
                  <a:srgbClr val="FFFFFF"/>
                </a:solidFill>
                <a:latin typeface="Arial"/>
              </a:rPr>
              <a:t>u</a:t>
            </a:r>
            <a:r>
              <a:rPr lang="fr-FR" sz="2027" b="1" i="0" spc="0" baseline="0" dirty="0">
                <a:solidFill>
                  <a:srgbClr val="FFFFFF"/>
                </a:solidFill>
                <a:latin typeface="Arial"/>
              </a:rPr>
              <a:t>let </a:t>
            </a:r>
          </a:p>
          <a:p>
            <a:pPr marL="0">
              <a:lnSpc>
                <a:spcPts val="2403"/>
              </a:lnSpc>
            </a:pPr>
            <a:r>
              <a:rPr lang="fr-FR" sz="2027" b="1" i="0" spc="0" baseline="0" dirty="0">
                <a:solidFill>
                  <a:srgbClr val="FFFFFF"/>
                </a:solidFill>
                <a:latin typeface="Arial"/>
              </a:rPr>
              <a:t>th</a:t>
            </a:r>
            <a:r>
              <a:rPr lang="fr-FR" sz="2027" b="1" i="0" spc="528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2027" b="1" i="0" spc="0" baseline="0" dirty="0">
                <a:solidFill>
                  <a:srgbClr val="FFFFFF"/>
                </a:solidFill>
                <a:latin typeface="Arial"/>
              </a:rPr>
              <a:t>interviewe</a:t>
            </a:r>
            <a:r>
              <a:rPr lang="fr-FR" sz="2027" b="1" i="0" spc="511" baseline="0" dirty="0">
                <a:solidFill>
                  <a:srgbClr val="FFFFFF"/>
                </a:solidFill>
                <a:latin typeface="Arial"/>
              </a:rPr>
              <a:t>r</a:t>
            </a:r>
            <a:r>
              <a:rPr lang="fr-FR" sz="2027" b="1" i="0" spc="0" baseline="0" dirty="0">
                <a:solidFill>
                  <a:srgbClr val="FFFFFF"/>
                </a:solidFill>
                <a:latin typeface="Arial"/>
              </a:rPr>
              <a:t>kno</a:t>
            </a:r>
            <a:r>
              <a:rPr lang="fr-FR" sz="2027" b="1" i="0" spc="528" baseline="0" dirty="0">
                <a:solidFill>
                  <a:srgbClr val="FFFFFF"/>
                </a:solidFill>
                <a:latin typeface="Arial"/>
              </a:rPr>
              <a:t>w</a:t>
            </a:r>
            <a:r>
              <a:rPr lang="fr-FR" sz="2027" b="1" i="0" spc="0" baseline="0" dirty="0">
                <a:solidFill>
                  <a:srgbClr val="FFFFFF"/>
                </a:solidFill>
                <a:latin typeface="Arial"/>
              </a:rPr>
              <a:t>abou</a:t>
            </a:r>
            <a:r>
              <a:rPr lang="fr-FR" sz="2027" b="1" i="0" spc="508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2027" b="1" i="0" spc="0" baseline="0" dirty="0">
                <a:solidFill>
                  <a:srgbClr val="FFFFFF"/>
                </a:solidFill>
                <a:latin typeface="Arial"/>
              </a:rPr>
              <a:t>yourself</a:t>
            </a:r>
          </a:p>
        </p:txBody>
      </p:sp>
      <p:sp>
        <p:nvSpPr>
          <p:cNvPr id="778" name="Rectangle 778"/>
          <p:cNvSpPr/>
          <p:nvPr/>
        </p:nvSpPr>
        <p:spPr>
          <a:xfrm>
            <a:off x="6319520" y="3135222"/>
            <a:ext cx="5075250" cy="58289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Prepar</a:t>
            </a:r>
            <a:r>
              <a:rPr lang="fr-FR" sz="1802" b="0" i="0" spc="467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802" b="0" i="0" spc="495" baseline="0" dirty="0">
                <a:solidFill>
                  <a:srgbClr val="FFFFFF"/>
                </a:solidFill>
                <a:latin typeface="Arial"/>
              </a:rPr>
              <a:t>a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lis</a:t>
            </a:r>
            <a:r>
              <a:rPr lang="fr-FR" sz="1802" b="0" i="0" spc="536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802" b="0" i="0" spc="518" baseline="0" dirty="0">
                <a:solidFill>
                  <a:srgbClr val="FFFFFF"/>
                </a:solidFill>
                <a:latin typeface="Arial"/>
              </a:rPr>
              <a:t>f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question</a:t>
            </a:r>
            <a:r>
              <a:rPr lang="fr-FR" sz="1802" b="0" i="0" spc="518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an</a:t>
            </a:r>
            <a:r>
              <a:rPr lang="fr-FR" sz="1802" b="0" i="0" spc="465" baseline="0" dirty="0">
                <a:solidFill>
                  <a:srgbClr val="FFFFFF"/>
                </a:solidFill>
                <a:latin typeface="Arial"/>
              </a:rPr>
              <a:t>d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tr</a:t>
            </a:r>
            <a:r>
              <a:rPr lang="fr-FR" sz="1802" b="0" i="0" spc="460" baseline="0" dirty="0">
                <a:solidFill>
                  <a:srgbClr val="FFFFFF"/>
                </a:solidFill>
                <a:latin typeface="Arial"/>
              </a:rPr>
              <a:t>y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to answe</a:t>
            </a:r>
            <a:r>
              <a:rPr lang="fr-FR" sz="1802" b="0" i="0" spc="514" baseline="0" dirty="0">
                <a:solidFill>
                  <a:srgbClr val="FFFFFF"/>
                </a:solidFill>
                <a:latin typeface="Arial"/>
              </a:rPr>
              <a:t>r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them </a:t>
            </a:r>
          </a:p>
          <a:p>
            <a:pPr marL="0">
              <a:lnSpc>
                <a:spcPts val="2177"/>
              </a:lnSpc>
            </a:pP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i</a:t>
            </a:r>
            <a:r>
              <a:rPr lang="fr-FR" sz="1802" b="0" i="0" spc="500" baseline="0" dirty="0">
                <a:solidFill>
                  <a:srgbClr val="FFFFFF"/>
                </a:solidFill>
                <a:latin typeface="Arial"/>
              </a:rPr>
              <a:t>n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2/3/4 structure</a:t>
            </a:r>
            <a:r>
              <a:rPr lang="fr-FR" sz="1802" b="0" i="0" spc="490" baseline="0" dirty="0">
                <a:solidFill>
                  <a:srgbClr val="FFFFFF"/>
                </a:solidFill>
                <a:latin typeface="Arial"/>
              </a:rPr>
              <a:t>d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bulle</a:t>
            </a:r>
            <a:r>
              <a:rPr lang="fr-FR" sz="1802" b="0" i="0" spc="531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points</a:t>
            </a:r>
          </a:p>
        </p:txBody>
      </p:sp>
      <p:sp>
        <p:nvSpPr>
          <p:cNvPr id="779" name="Rectangle 779"/>
          <p:cNvSpPr/>
          <p:nvPr/>
        </p:nvSpPr>
        <p:spPr>
          <a:xfrm>
            <a:off x="6319520" y="3840961"/>
            <a:ext cx="4978355" cy="143189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Try t</a:t>
            </a:r>
            <a:r>
              <a:rPr lang="fr-FR" sz="1802" b="0" i="0" spc="460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var</a:t>
            </a:r>
            <a:r>
              <a:rPr lang="fr-FR" sz="1802" b="0" i="0" spc="505" baseline="0" dirty="0">
                <a:solidFill>
                  <a:srgbClr val="FFFFFF"/>
                </a:solidFill>
                <a:latin typeface="Arial"/>
              </a:rPr>
              <a:t>y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examples</a:t>
            </a:r>
            <a:r>
              <a:rPr lang="fr-FR" sz="1802" b="0" i="0" spc="491" baseline="0" dirty="0">
                <a:solidFill>
                  <a:srgbClr val="FFFFFF"/>
                </a:solidFill>
                <a:latin typeface="Arial"/>
              </a:rPr>
              <a:t>,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bu</a:t>
            </a:r>
            <a:r>
              <a:rPr lang="fr-FR" sz="1802" b="0" i="0" spc="521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don'</a:t>
            </a:r>
            <a:r>
              <a:rPr lang="fr-FR" sz="1802" b="0" i="0" spc="520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miss th</a:t>
            </a:r>
            <a:r>
              <a:rPr lang="fr-FR" sz="1802" b="0" i="0" spc="491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question!</a:t>
            </a:r>
          </a:p>
          <a:p>
            <a:pPr marL="0">
              <a:lnSpc>
                <a:spcPts val="3380"/>
              </a:lnSpc>
            </a:pP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Sho</a:t>
            </a:r>
            <a:r>
              <a:rPr lang="fr-FR" sz="1802" b="0" i="0" spc="532" baseline="0" dirty="0">
                <a:solidFill>
                  <a:srgbClr val="FFFFFF"/>
                </a:solidFill>
                <a:latin typeface="Arial"/>
              </a:rPr>
              <a:t>w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interes</a:t>
            </a:r>
            <a:r>
              <a:rPr lang="fr-FR" sz="1802" b="0" i="0" spc="465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toward</a:t>
            </a:r>
            <a:r>
              <a:rPr lang="fr-FR" sz="1802" b="0" i="0" spc="555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you</a:t>
            </a:r>
            <a:r>
              <a:rPr lang="fr-FR" sz="1802" b="0" i="0" spc="532" baseline="0" dirty="0">
                <a:solidFill>
                  <a:srgbClr val="FFFFFF"/>
                </a:solidFill>
                <a:latin typeface="Arial"/>
              </a:rPr>
              <a:t>r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previou</a:t>
            </a:r>
            <a:r>
              <a:rPr lang="fr-FR" sz="1802" b="0" i="0" spc="515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jobs</a:t>
            </a:r>
          </a:p>
          <a:p>
            <a:pPr marL="0">
              <a:lnSpc>
                <a:spcPts val="3378"/>
              </a:lnSpc>
            </a:pP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Everythin</a:t>
            </a:r>
            <a:r>
              <a:rPr lang="fr-FR" sz="1802" b="0" i="0" spc="558" baseline="0" dirty="0">
                <a:solidFill>
                  <a:srgbClr val="FFFFFF"/>
                </a:solidFill>
                <a:latin typeface="Arial"/>
              </a:rPr>
              <a:t>g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tha</a:t>
            </a:r>
            <a:r>
              <a:rPr lang="fr-FR" sz="1802" b="0" i="0" spc="507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yo</a:t>
            </a:r>
            <a:r>
              <a:rPr lang="fr-FR" sz="1802" b="0" i="0" spc="506" baseline="0" dirty="0">
                <a:solidFill>
                  <a:srgbClr val="FFFFFF"/>
                </a:solidFill>
                <a:latin typeface="Arial"/>
              </a:rPr>
              <a:t>u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sa</a:t>
            </a:r>
            <a:r>
              <a:rPr lang="fr-FR" sz="1802" b="0" i="0" spc="516" baseline="0" dirty="0">
                <a:solidFill>
                  <a:srgbClr val="FFFFFF"/>
                </a:solidFill>
                <a:latin typeface="Arial"/>
              </a:rPr>
              <a:t>y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is suppose</a:t>
            </a:r>
            <a:r>
              <a:rPr lang="fr-FR" sz="1802" b="0" i="0" spc="518" baseline="0" dirty="0">
                <a:solidFill>
                  <a:srgbClr val="FFFFFF"/>
                </a:solidFill>
                <a:latin typeface="Arial"/>
              </a:rPr>
              <a:t>d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0" i="0" spc="459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mak</a:t>
            </a:r>
            <a:r>
              <a:rPr lang="fr-FR" sz="1802" b="0" i="0" spc="504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the </a:t>
            </a:r>
          </a:p>
          <a:p>
            <a:pPr marL="0">
              <a:lnSpc>
                <a:spcPts val="2103"/>
              </a:lnSpc>
            </a:pP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interviewe</a:t>
            </a:r>
            <a:r>
              <a:rPr lang="fr-FR" sz="1802" b="0" i="0" spc="531" baseline="0" dirty="0">
                <a:solidFill>
                  <a:srgbClr val="FFFFFF"/>
                </a:solidFill>
                <a:latin typeface="Arial"/>
              </a:rPr>
              <a:t>r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kno</a:t>
            </a:r>
            <a:r>
              <a:rPr lang="fr-FR" sz="1802" b="0" i="0" spc="530" baseline="0" dirty="0">
                <a:solidFill>
                  <a:srgbClr val="FFFFFF"/>
                </a:solidFill>
                <a:latin typeface="Arial"/>
              </a:rPr>
              <a:t>w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mor</a:t>
            </a:r>
            <a:r>
              <a:rPr lang="fr-FR" sz="1802" b="0" i="0" spc="507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abou</a:t>
            </a:r>
            <a:r>
              <a:rPr lang="fr-FR" sz="1802" b="0" i="0" spc="512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yo</a:t>
            </a:r>
            <a:r>
              <a:rPr lang="fr-FR" sz="1802" b="0" i="0" spc="514" baseline="0" dirty="0">
                <a:solidFill>
                  <a:srgbClr val="FFFFFF"/>
                </a:solidFill>
                <a:latin typeface="Arial"/>
              </a:rPr>
              <a:t>u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(an</a:t>
            </a:r>
            <a:r>
              <a:rPr lang="fr-FR" sz="1802" b="0" i="0" spc="530" baseline="0" dirty="0">
                <a:solidFill>
                  <a:srgbClr val="FFFFFF"/>
                </a:solidFill>
                <a:latin typeface="Arial"/>
              </a:rPr>
              <a:t>d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onl</a:t>
            </a:r>
            <a:r>
              <a:rPr lang="fr-FR" sz="1802" b="0" i="0" spc="472" baseline="0" dirty="0">
                <a:solidFill>
                  <a:srgbClr val="FFFFFF"/>
                </a:solidFill>
                <a:latin typeface="Arial"/>
              </a:rPr>
              <a:t>y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you!)</a:t>
            </a:r>
          </a:p>
        </p:txBody>
      </p:sp>
      <p:sp>
        <p:nvSpPr>
          <p:cNvPr id="780" name="Rectangle 780"/>
          <p:cNvSpPr/>
          <p:nvPr/>
        </p:nvSpPr>
        <p:spPr>
          <a:xfrm>
            <a:off x="6319520" y="5395822"/>
            <a:ext cx="4814372" cy="58283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Remembe</a:t>
            </a:r>
            <a:r>
              <a:rPr lang="fr-FR" sz="1802" b="0" i="0" spc="519" baseline="0" dirty="0">
                <a:solidFill>
                  <a:srgbClr val="FFFFFF"/>
                </a:solidFill>
                <a:latin typeface="Arial"/>
              </a:rPr>
              <a:t>r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that th</a:t>
            </a:r>
            <a:r>
              <a:rPr lang="fr-FR" sz="1802" b="0" i="0" spc="492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interviewe</a:t>
            </a:r>
            <a:r>
              <a:rPr lang="fr-FR" sz="1802" b="0" i="0" spc="530" baseline="0" dirty="0">
                <a:solidFill>
                  <a:srgbClr val="FFFFFF"/>
                </a:solidFill>
                <a:latin typeface="Arial"/>
              </a:rPr>
              <a:t>r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is onl</a:t>
            </a:r>
            <a:r>
              <a:rPr lang="fr-FR" sz="1802" b="0" i="0" spc="469" baseline="0" dirty="0">
                <a:solidFill>
                  <a:srgbClr val="FFFFFF"/>
                </a:solidFill>
                <a:latin typeface="Arial"/>
              </a:rPr>
              <a:t>y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5/7 years</a:t>
            </a:r>
          </a:p>
          <a:p>
            <a:pPr marL="0">
              <a:lnSpc>
                <a:spcPts val="2177"/>
              </a:lnSpc>
            </a:pP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olde</a:t>
            </a:r>
            <a:r>
              <a:rPr lang="fr-FR" sz="1802" b="0" i="0" spc="507" baseline="0" dirty="0">
                <a:solidFill>
                  <a:srgbClr val="FFFFFF"/>
                </a:solidFill>
                <a:latin typeface="Arial"/>
              </a:rPr>
              <a:t>r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tha</a:t>
            </a:r>
            <a:r>
              <a:rPr lang="fr-FR" sz="1802" b="0" i="0" spc="502" baseline="0" dirty="0">
                <a:solidFill>
                  <a:srgbClr val="FFFFFF"/>
                </a:solidFill>
                <a:latin typeface="Arial"/>
              </a:rPr>
              <a:t>n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yo</a:t>
            </a:r>
            <a:r>
              <a:rPr lang="fr-FR" sz="1802" b="0" i="0" spc="506" baseline="0" dirty="0">
                <a:solidFill>
                  <a:srgbClr val="FFFFFF"/>
                </a:solidFill>
                <a:latin typeface="Arial"/>
              </a:rPr>
              <a:t>u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ar</a:t>
            </a:r>
            <a:r>
              <a:rPr lang="fr-FR" sz="1802" b="0" i="0" spc="495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..</a:t>
            </a:r>
            <a:r>
              <a:rPr lang="fr-FR" sz="1802" b="0" i="0" spc="520" baseline="0" dirty="0">
                <a:solidFill>
                  <a:srgbClr val="FFFFFF"/>
                </a:solidFill>
                <a:latin typeface="Arial"/>
              </a:rPr>
              <a:t>.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tr</a:t>
            </a:r>
            <a:r>
              <a:rPr lang="fr-FR" sz="1802" b="0" i="0" spc="467" baseline="0" dirty="0">
                <a:solidFill>
                  <a:srgbClr val="FFFFFF"/>
                </a:solidFill>
                <a:latin typeface="Arial"/>
              </a:rPr>
              <a:t>y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no</a:t>
            </a:r>
            <a:r>
              <a:rPr lang="fr-FR" sz="1802" b="0" i="0" spc="462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to bor</a:t>
            </a:r>
            <a:r>
              <a:rPr lang="fr-FR" sz="1802" b="0" i="0" spc="531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hi</a:t>
            </a:r>
            <a:r>
              <a:rPr lang="fr-FR" sz="1802" b="0" i="0" spc="467" baseline="0" dirty="0">
                <a:solidFill>
                  <a:srgbClr val="FFFFFF"/>
                </a:solidFill>
                <a:latin typeface="Arial"/>
              </a:rPr>
              <a:t>m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/her!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1" name="Freeform 78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782" name="Picture 782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620000" y="0"/>
            <a:ext cx="4572000" cy="6858000"/>
          </a:xfrm>
          <a:prstGeom prst="rect">
            <a:avLst/>
          </a:prstGeom>
          <a:noFill/>
        </p:spPr>
      </p:pic>
      <p:sp>
        <p:nvSpPr>
          <p:cNvPr id="783" name="Freeform 783"/>
          <p:cNvSpPr/>
          <p:nvPr/>
        </p:nvSpPr>
        <p:spPr>
          <a:xfrm>
            <a:off x="7620000" y="0"/>
            <a:ext cx="4572000" cy="6858000"/>
          </a:xfrm>
          <a:custGeom>
            <a:avLst/>
            <a:gdLst/>
            <a:ahLst/>
            <a:cxnLst/>
            <a:rect l="0" t="0" r="0" b="0"/>
            <a:pathLst>
              <a:path w="4572000" h="6858000">
                <a:moveTo>
                  <a:pt x="0" y="6858000"/>
                </a:moveTo>
                <a:lnTo>
                  <a:pt x="4572000" y="6858000"/>
                </a:lnTo>
                <a:lnTo>
                  <a:pt x="457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0000">
              <a:alpha val="45098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784" name="Picture 784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258175" y="1076325"/>
            <a:ext cx="3695700" cy="3162300"/>
          </a:xfrm>
          <a:prstGeom prst="rect">
            <a:avLst/>
          </a:prstGeom>
          <a:noFill/>
        </p:spPr>
      </p:pic>
      <p:sp>
        <p:nvSpPr>
          <p:cNvPr id="785" name="Freeform 785"/>
          <p:cNvSpPr/>
          <p:nvPr/>
        </p:nvSpPr>
        <p:spPr>
          <a:xfrm>
            <a:off x="647700" y="1571614"/>
            <a:ext cx="1295400" cy="56908"/>
          </a:xfrm>
          <a:custGeom>
            <a:avLst/>
            <a:gdLst/>
            <a:ahLst/>
            <a:cxnLst/>
            <a:rect l="0" t="0" r="0" b="0"/>
            <a:pathLst>
              <a:path w="1295400" h="56908">
                <a:moveTo>
                  <a:pt x="0" y="56908"/>
                </a:moveTo>
                <a:lnTo>
                  <a:pt x="1295400" y="56908"/>
                </a:lnTo>
                <a:lnTo>
                  <a:pt x="1295400" y="0"/>
                </a:lnTo>
                <a:lnTo>
                  <a:pt x="0" y="0"/>
                </a:lnTo>
                <a:lnTo>
                  <a:pt x="0" y="56908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86" name="Freeform 786"/>
          <p:cNvSpPr/>
          <p:nvPr/>
        </p:nvSpPr>
        <p:spPr>
          <a:xfrm>
            <a:off x="652462" y="1576440"/>
            <a:ext cx="1295400" cy="56907"/>
          </a:xfrm>
          <a:custGeom>
            <a:avLst/>
            <a:gdLst/>
            <a:ahLst/>
            <a:cxnLst/>
            <a:rect l="0" t="0" r="0" b="0"/>
            <a:pathLst>
              <a:path w="1295400" h="56907">
                <a:moveTo>
                  <a:pt x="0" y="56907"/>
                </a:moveTo>
                <a:lnTo>
                  <a:pt x="1295400" y="56907"/>
                </a:lnTo>
                <a:lnTo>
                  <a:pt x="1295400" y="0"/>
                </a:lnTo>
                <a:lnTo>
                  <a:pt x="0" y="0"/>
                </a:lnTo>
                <a:lnTo>
                  <a:pt x="0" y="56907"/>
                </a:lnTo>
                <a:close/>
              </a:path>
            </a:pathLst>
          </a:custGeom>
          <a:noFill/>
          <a:ln w="10666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87" name="Rectangle 787"/>
          <p:cNvSpPr/>
          <p:nvPr/>
        </p:nvSpPr>
        <p:spPr>
          <a:xfrm>
            <a:off x="11418951" y="6400508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27</a:t>
            </a:r>
          </a:p>
        </p:txBody>
      </p:sp>
      <p:sp>
        <p:nvSpPr>
          <p:cNvPr id="788" name="Rectangle 788"/>
          <p:cNvSpPr/>
          <p:nvPr/>
        </p:nvSpPr>
        <p:spPr>
          <a:xfrm>
            <a:off x="630555" y="459812"/>
            <a:ext cx="6648481" cy="112794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A7A8A7"/>
                </a:solidFill>
                <a:latin typeface="Arial"/>
              </a:rPr>
              <a:t>Ti</a:t>
            </a:r>
            <a:r>
              <a:rPr lang="fr-FR" sz="3604" b="1" i="0" spc="936" baseline="0" dirty="0">
                <a:solidFill>
                  <a:srgbClr val="A7A8A7"/>
                </a:solidFill>
                <a:latin typeface="Arial"/>
              </a:rPr>
              <a:t>p</a:t>
            </a:r>
            <a:r>
              <a:rPr lang="fr-FR" sz="3604" b="1" i="0" spc="0" baseline="0" dirty="0">
                <a:solidFill>
                  <a:srgbClr val="A7A8A7"/>
                </a:solidFill>
                <a:latin typeface="Arial"/>
              </a:rPr>
              <a:t>no.6</a:t>
            </a:r>
          </a:p>
          <a:p>
            <a:pPr marL="0">
              <a:lnSpc>
                <a:spcPts val="4058"/>
              </a:lnSpc>
            </a:pP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Lear</a:t>
            </a:r>
            <a:r>
              <a:rPr lang="fr-FR" sz="3604" b="1" i="0" spc="1019" baseline="0" dirty="0">
                <a:solidFill>
                  <a:srgbClr val="466CAD"/>
                </a:solidFill>
                <a:latin typeface="Arial"/>
              </a:rPr>
              <a:t>n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abou</a:t>
            </a:r>
            <a:r>
              <a:rPr lang="fr-FR" sz="3604" b="1" i="0" spc="1016" baseline="0" dirty="0">
                <a:solidFill>
                  <a:srgbClr val="466CAD"/>
                </a:solidFill>
                <a:latin typeface="Arial"/>
              </a:rPr>
              <a:t>t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consultanc</a:t>
            </a:r>
            <a:r>
              <a:rPr lang="fr-FR" sz="3604" b="1" i="0" spc="968" baseline="0" dirty="0">
                <a:solidFill>
                  <a:srgbClr val="466CAD"/>
                </a:solidFill>
                <a:latin typeface="Arial"/>
              </a:rPr>
              <a:t>y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firms</a:t>
            </a:r>
          </a:p>
        </p:txBody>
      </p:sp>
      <p:sp>
        <p:nvSpPr>
          <p:cNvPr id="789" name="Rectangle 789"/>
          <p:cNvSpPr/>
          <p:nvPr/>
        </p:nvSpPr>
        <p:spPr>
          <a:xfrm>
            <a:off x="656590" y="3324223"/>
            <a:ext cx="3638744" cy="64970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027" b="0" i="0" spc="0" baseline="0" dirty="0">
                <a:solidFill>
                  <a:srgbClr val="3660A1"/>
                </a:solidFill>
                <a:latin typeface="Arial"/>
              </a:rPr>
              <a:t>As</a:t>
            </a:r>
            <a:r>
              <a:rPr lang="fr-FR" sz="2027" b="0" i="0" spc="525" baseline="0" dirty="0">
                <a:solidFill>
                  <a:srgbClr val="3660A1"/>
                </a:solidFill>
                <a:latin typeface="Arial"/>
              </a:rPr>
              <a:t>k</a:t>
            </a:r>
            <a:r>
              <a:rPr lang="fr-FR" sz="2027" b="0" i="0" spc="0" baseline="0" dirty="0">
                <a:solidFill>
                  <a:srgbClr val="3660A1"/>
                </a:solidFill>
                <a:latin typeface="Arial"/>
              </a:rPr>
              <a:t>consultant</a:t>
            </a:r>
            <a:r>
              <a:rPr lang="fr-FR" sz="2027" b="0" i="0" spc="458" baseline="0" dirty="0">
                <a:solidFill>
                  <a:srgbClr val="3660A1"/>
                </a:solidFill>
                <a:latin typeface="Arial"/>
              </a:rPr>
              <a:t>s</a:t>
            </a:r>
            <a:r>
              <a:rPr lang="fr-FR" sz="2027" b="0" i="0" spc="0" baseline="0" dirty="0">
                <a:solidFill>
                  <a:srgbClr val="3660A1"/>
                </a:solidFill>
                <a:latin typeface="Arial"/>
              </a:rPr>
              <a:t>abou</a:t>
            </a:r>
            <a:r>
              <a:rPr lang="fr-FR" sz="2027" b="0" i="0" spc="520" baseline="0" dirty="0">
                <a:solidFill>
                  <a:srgbClr val="3660A1"/>
                </a:solidFill>
                <a:latin typeface="Arial"/>
              </a:rPr>
              <a:t>t</a:t>
            </a:r>
            <a:r>
              <a:rPr lang="fr-FR" sz="2027" b="0" i="0" spc="0" baseline="0" dirty="0">
                <a:solidFill>
                  <a:srgbClr val="3660A1"/>
                </a:solidFill>
                <a:latin typeface="Arial"/>
              </a:rPr>
              <a:t>thei</a:t>
            </a:r>
            <a:r>
              <a:rPr lang="fr-FR" sz="2027" b="0" i="0" spc="510" baseline="0" dirty="0">
                <a:solidFill>
                  <a:srgbClr val="3660A1"/>
                </a:solidFill>
                <a:latin typeface="Arial"/>
              </a:rPr>
              <a:t>r</a:t>
            </a:r>
            <a:r>
              <a:rPr lang="fr-FR" sz="2027" b="0" i="0" spc="0" baseline="0" dirty="0">
                <a:solidFill>
                  <a:srgbClr val="3660A1"/>
                </a:solidFill>
                <a:latin typeface="Arial"/>
              </a:rPr>
              <a:t>own </a:t>
            </a:r>
          </a:p>
          <a:p>
            <a:pPr marL="0">
              <a:lnSpc>
                <a:spcPts val="2403"/>
              </a:lnSpc>
            </a:pPr>
            <a:r>
              <a:rPr lang="fr-FR" sz="2027" b="0" i="0" spc="0" baseline="0" dirty="0">
                <a:solidFill>
                  <a:srgbClr val="3660A1"/>
                </a:solidFill>
                <a:latin typeface="Arial"/>
              </a:rPr>
              <a:t>experienc</a:t>
            </a:r>
            <a:r>
              <a:rPr lang="fr-FR" sz="2027" b="0" i="0" spc="479" baseline="0" dirty="0">
                <a:solidFill>
                  <a:srgbClr val="3660A1"/>
                </a:solidFill>
                <a:latin typeface="Arial"/>
              </a:rPr>
              <a:t>e</a:t>
            </a:r>
            <a:r>
              <a:rPr lang="fr-FR" sz="2027" b="0" i="0" spc="0" baseline="0" dirty="0">
                <a:solidFill>
                  <a:srgbClr val="3660A1"/>
                </a:solidFill>
                <a:latin typeface="Arial"/>
              </a:rPr>
              <a:t>through</a:t>
            </a:r>
          </a:p>
        </p:txBody>
      </p:sp>
      <p:sp>
        <p:nvSpPr>
          <p:cNvPr id="790" name="Rectangle 790"/>
          <p:cNvSpPr/>
          <p:nvPr/>
        </p:nvSpPr>
        <p:spPr>
          <a:xfrm>
            <a:off x="656590" y="4392420"/>
            <a:ext cx="3274427" cy="106931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Jo</a:t>
            </a:r>
            <a:r>
              <a:rPr lang="fr-FR" sz="2027" b="0" i="0" spc="502" baseline="0" dirty="0">
                <a:solidFill>
                  <a:srgbClr val="555555"/>
                </a:solidFill>
                <a:latin typeface="Arial"/>
              </a:rPr>
              <a:t>b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fares</a:t>
            </a:r>
          </a:p>
          <a:p>
            <a:pPr marL="0">
              <a:lnSpc>
                <a:spcPts val="2702"/>
              </a:lnSpc>
            </a:pP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ESC</a:t>
            </a:r>
            <a:r>
              <a:rPr lang="fr-FR" sz="2027" b="0" i="0" spc="280" baseline="0" dirty="0">
                <a:solidFill>
                  <a:srgbClr val="555555"/>
                </a:solidFill>
                <a:latin typeface="Arial"/>
              </a:rPr>
              <a:t>P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Alumn</a:t>
            </a:r>
            <a:r>
              <a:rPr lang="fr-FR" sz="2027" b="0" i="0" spc="518" baseline="0" dirty="0">
                <a:solidFill>
                  <a:srgbClr val="555555"/>
                </a:solidFill>
                <a:latin typeface="Arial"/>
              </a:rPr>
              <a:t>i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network  </a:t>
            </a:r>
          </a:p>
          <a:p>
            <a:pPr marL="0">
              <a:lnSpc>
                <a:spcPts val="3005"/>
              </a:lnSpc>
            </a:pP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Friend</a:t>
            </a:r>
            <a:r>
              <a:rPr lang="fr-FR" sz="2027" b="0" i="0" spc="476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an</a:t>
            </a:r>
            <a:r>
              <a:rPr lang="fr-FR" sz="2027" b="0" i="0" spc="482" baseline="0" dirty="0">
                <a:solidFill>
                  <a:srgbClr val="555555"/>
                </a:solidFill>
                <a:latin typeface="Arial"/>
              </a:rPr>
              <a:t>d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friend</a:t>
            </a:r>
            <a:r>
              <a:rPr lang="fr-FR" sz="2027" b="0" i="0" spc="477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2027" b="0" i="0" spc="491" baseline="0" dirty="0">
                <a:solidFill>
                  <a:srgbClr val="555555"/>
                </a:solidFill>
                <a:latin typeface="Arial"/>
              </a:rPr>
              <a:t>f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friends</a:t>
            </a:r>
          </a:p>
        </p:txBody>
      </p:sp>
      <p:sp>
        <p:nvSpPr>
          <p:cNvPr id="791" name="Rectangle 791"/>
          <p:cNvSpPr/>
          <p:nvPr/>
        </p:nvSpPr>
        <p:spPr>
          <a:xfrm>
            <a:off x="8559165" y="1353031"/>
            <a:ext cx="3110120" cy="210880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1" i="0" spc="491" baseline="0" dirty="0">
                <a:solidFill>
                  <a:srgbClr val="FFFFFF"/>
                </a:solidFill>
                <a:latin typeface="Arial"/>
              </a:rPr>
              <a:t>I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hav</a:t>
            </a:r>
            <a:r>
              <a:rPr lang="fr-FR" sz="1802" b="1" i="0" spc="499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talke</a:t>
            </a:r>
            <a:r>
              <a:rPr lang="fr-FR" sz="1802" b="1" i="0" spc="515" baseline="0" dirty="0">
                <a:solidFill>
                  <a:srgbClr val="FFFFFF"/>
                </a:solidFill>
                <a:latin typeface="Arial"/>
              </a:rPr>
              <a:t>d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1" i="0" spc="483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XXX</a:t>
            </a:r>
            <a:r>
              <a:rPr lang="fr-FR" sz="1802" b="1" i="0" spc="476" baseline="0" dirty="0">
                <a:solidFill>
                  <a:srgbClr val="FFFFFF"/>
                </a:solidFill>
                <a:latin typeface="Arial"/>
              </a:rPr>
              <a:t>,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who </a:t>
            </a:r>
          </a:p>
          <a:p>
            <a:pPr marL="0">
              <a:lnSpc>
                <a:spcPts val="2178"/>
              </a:lnSpc>
            </a:pP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i</a:t>
            </a:r>
            <a:r>
              <a:rPr lang="fr-FR" sz="1802" b="1" i="0" spc="458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802" b="1" i="0" spc="477" baseline="0" dirty="0">
                <a:solidFill>
                  <a:srgbClr val="FFFFFF"/>
                </a:solidFill>
                <a:latin typeface="Arial"/>
              </a:rPr>
              <a:t>a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consultan</a:t>
            </a:r>
            <a:r>
              <a:rPr lang="fr-FR" sz="1802" b="1" i="0" spc="490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a</a:t>
            </a:r>
            <a:r>
              <a:rPr lang="fr-FR" sz="1802" b="1" i="0" spc="499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you</a:t>
            </a:r>
            <a:r>
              <a:rPr lang="fr-FR" sz="1802" b="1" i="0" spc="517" baseline="0" dirty="0">
                <a:solidFill>
                  <a:srgbClr val="FFFFFF"/>
                </a:solidFill>
                <a:latin typeface="Arial"/>
              </a:rPr>
              <a:t>r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firm</a:t>
            </a:r>
          </a:p>
          <a:p>
            <a:pPr marL="0">
              <a:lnSpc>
                <a:spcPts val="2777"/>
              </a:lnSpc>
            </a:pP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He told me tha</a:t>
            </a:r>
            <a:r>
              <a:rPr lang="fr-FR" sz="1802" b="1" i="0" spc="1022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h</a:t>
            </a:r>
            <a:r>
              <a:rPr lang="fr-FR" sz="1802" b="1" i="0" spc="413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ha</a:t>
            </a:r>
            <a:r>
              <a:rPr lang="fr-FR" sz="1802" b="1" i="0" spc="446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had </a:t>
            </a:r>
          </a:p>
          <a:p>
            <a:pPr marL="0">
              <a:lnSpc>
                <a:spcPts val="2179"/>
              </a:lnSpc>
            </a:pP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the chance to work on a </a:t>
            </a:r>
          </a:p>
          <a:p>
            <a:pPr marL="0">
              <a:lnSpc>
                <a:spcPts val="2178"/>
              </a:lnSpc>
            </a:pP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pr</a:t>
            </a:r>
            <a:r>
              <a:rPr lang="fr-FR" sz="1802" b="1" i="0" spc="487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bon</a:t>
            </a:r>
            <a:r>
              <a:rPr lang="fr-FR" sz="1802" b="1" i="0" spc="487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projec</a:t>
            </a:r>
            <a:r>
              <a:rPr lang="fr-FR" sz="1802" b="1" i="0" spc="453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i</a:t>
            </a:r>
            <a:r>
              <a:rPr lang="fr-FR" sz="1802" b="1" i="0" spc="333" baseline="0" dirty="0">
                <a:solidFill>
                  <a:srgbClr val="FFFFFF"/>
                </a:solidFill>
                <a:latin typeface="Arial"/>
              </a:rPr>
              <a:t>n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Africa</a:t>
            </a:r>
          </a:p>
          <a:p>
            <a:pPr marL="0">
              <a:lnSpc>
                <a:spcPts val="2701"/>
              </a:lnSpc>
            </a:pP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Thi</a:t>
            </a:r>
            <a:r>
              <a:rPr lang="fr-FR" sz="1802" b="1" i="0" spc="482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i</a:t>
            </a:r>
            <a:r>
              <a:rPr lang="fr-FR" sz="1802" b="1" i="0" spc="467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somethin</a:t>
            </a:r>
            <a:r>
              <a:rPr lang="fr-FR" sz="1802" b="1" i="0" spc="493" baseline="0" dirty="0">
                <a:solidFill>
                  <a:srgbClr val="FFFFFF"/>
                </a:solidFill>
                <a:latin typeface="Arial"/>
              </a:rPr>
              <a:t>g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important </a:t>
            </a:r>
          </a:p>
          <a:p>
            <a:pPr marL="0">
              <a:lnSpc>
                <a:spcPts val="2178"/>
              </a:lnSpc>
            </a:pP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1" i="0" spc="504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m</a:t>
            </a:r>
            <a:r>
              <a:rPr lang="fr-FR" sz="1802" b="1" i="0" spc="512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becaus</a:t>
            </a:r>
            <a:r>
              <a:rPr lang="fr-FR" sz="1802" b="1" i="0" spc="1056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802" b="1" i="0" spc="486" baseline="0" dirty="0">
                <a:solidFill>
                  <a:srgbClr val="FFFFFF"/>
                </a:solidFill>
                <a:latin typeface="Arial"/>
              </a:rPr>
              <a:t>I</a:t>
            </a:r>
            <a:r>
              <a:rPr lang="fr-FR" sz="1802" b="1" i="0" spc="0" baseline="0" dirty="0">
                <a:solidFill>
                  <a:srgbClr val="FFFFFF"/>
                </a:solidFill>
                <a:latin typeface="Arial"/>
              </a:rPr>
              <a:t>...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2" name="Freeform 79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93" name="Freeform 793"/>
          <p:cNvSpPr/>
          <p:nvPr/>
        </p:nvSpPr>
        <p:spPr>
          <a:xfrm>
            <a:off x="647700" y="1619279"/>
            <a:ext cx="1094866" cy="66393"/>
          </a:xfrm>
          <a:custGeom>
            <a:avLst/>
            <a:gdLst/>
            <a:ahLst/>
            <a:cxnLst/>
            <a:rect l="0" t="0" r="0" b="0"/>
            <a:pathLst>
              <a:path w="1094866" h="66393">
                <a:moveTo>
                  <a:pt x="0" y="66393"/>
                </a:moveTo>
                <a:lnTo>
                  <a:pt x="1094866" y="66393"/>
                </a:lnTo>
                <a:lnTo>
                  <a:pt x="1094866" y="0"/>
                </a:lnTo>
                <a:lnTo>
                  <a:pt x="0" y="0"/>
                </a:lnTo>
                <a:lnTo>
                  <a:pt x="0" y="66393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94" name="Freeform 794"/>
          <p:cNvSpPr/>
          <p:nvPr/>
        </p:nvSpPr>
        <p:spPr>
          <a:xfrm>
            <a:off x="652462" y="1623978"/>
            <a:ext cx="1094867" cy="66393"/>
          </a:xfrm>
          <a:custGeom>
            <a:avLst/>
            <a:gdLst/>
            <a:ahLst/>
            <a:cxnLst/>
            <a:rect l="0" t="0" r="0" b="0"/>
            <a:pathLst>
              <a:path w="1094867" h="66393">
                <a:moveTo>
                  <a:pt x="0" y="66393"/>
                </a:moveTo>
                <a:lnTo>
                  <a:pt x="1094867" y="66393"/>
                </a:lnTo>
                <a:lnTo>
                  <a:pt x="1094867" y="0"/>
                </a:lnTo>
                <a:lnTo>
                  <a:pt x="0" y="0"/>
                </a:lnTo>
                <a:lnTo>
                  <a:pt x="0" y="66393"/>
                </a:lnTo>
                <a:close/>
              </a:path>
            </a:pathLst>
          </a:custGeom>
          <a:noFill/>
          <a:ln w="10667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95" name="Freeform 795"/>
          <p:cNvSpPr/>
          <p:nvPr/>
        </p:nvSpPr>
        <p:spPr>
          <a:xfrm>
            <a:off x="6105525" y="2208149"/>
            <a:ext cx="340486" cy="363093"/>
          </a:xfrm>
          <a:custGeom>
            <a:avLst/>
            <a:gdLst/>
            <a:ahLst/>
            <a:cxnLst/>
            <a:rect l="0" t="0" r="0" b="0"/>
            <a:pathLst>
              <a:path w="340486" h="363093">
                <a:moveTo>
                  <a:pt x="161544" y="0"/>
                </a:moveTo>
                <a:lnTo>
                  <a:pt x="148971" y="0"/>
                </a:lnTo>
                <a:lnTo>
                  <a:pt x="142366" y="2667"/>
                </a:lnTo>
                <a:lnTo>
                  <a:pt x="137159" y="7367"/>
                </a:lnTo>
                <a:lnTo>
                  <a:pt x="135890" y="7874"/>
                </a:lnTo>
                <a:lnTo>
                  <a:pt x="105664" y="27051"/>
                </a:lnTo>
                <a:lnTo>
                  <a:pt x="76072" y="44705"/>
                </a:lnTo>
                <a:lnTo>
                  <a:pt x="47116" y="60961"/>
                </a:lnTo>
                <a:lnTo>
                  <a:pt x="18288" y="75947"/>
                </a:lnTo>
                <a:lnTo>
                  <a:pt x="11557" y="80265"/>
                </a:lnTo>
                <a:lnTo>
                  <a:pt x="6603" y="85980"/>
                </a:lnTo>
                <a:lnTo>
                  <a:pt x="3428" y="92711"/>
                </a:lnTo>
                <a:lnTo>
                  <a:pt x="2159" y="100330"/>
                </a:lnTo>
                <a:lnTo>
                  <a:pt x="0" y="108840"/>
                </a:lnTo>
                <a:lnTo>
                  <a:pt x="634" y="117348"/>
                </a:lnTo>
                <a:lnTo>
                  <a:pt x="3936" y="125349"/>
                </a:lnTo>
                <a:lnTo>
                  <a:pt x="9525" y="132461"/>
                </a:lnTo>
                <a:lnTo>
                  <a:pt x="34544" y="157480"/>
                </a:lnTo>
                <a:lnTo>
                  <a:pt x="58801" y="183388"/>
                </a:lnTo>
                <a:lnTo>
                  <a:pt x="82422" y="209550"/>
                </a:lnTo>
                <a:lnTo>
                  <a:pt x="105409" y="235840"/>
                </a:lnTo>
                <a:lnTo>
                  <a:pt x="130809" y="264415"/>
                </a:lnTo>
                <a:lnTo>
                  <a:pt x="156717" y="292990"/>
                </a:lnTo>
                <a:lnTo>
                  <a:pt x="183388" y="320930"/>
                </a:lnTo>
                <a:lnTo>
                  <a:pt x="211201" y="347854"/>
                </a:lnTo>
                <a:lnTo>
                  <a:pt x="212597" y="349123"/>
                </a:lnTo>
                <a:lnTo>
                  <a:pt x="215646" y="351282"/>
                </a:lnTo>
                <a:lnTo>
                  <a:pt x="221234" y="359156"/>
                </a:lnTo>
                <a:lnTo>
                  <a:pt x="229108" y="363093"/>
                </a:lnTo>
                <a:lnTo>
                  <a:pt x="243459" y="363093"/>
                </a:lnTo>
                <a:lnTo>
                  <a:pt x="249173" y="361316"/>
                </a:lnTo>
                <a:lnTo>
                  <a:pt x="254380" y="356998"/>
                </a:lnTo>
                <a:lnTo>
                  <a:pt x="298958" y="322199"/>
                </a:lnTo>
                <a:lnTo>
                  <a:pt x="340486" y="288036"/>
                </a:lnTo>
                <a:lnTo>
                  <a:pt x="240410" y="288036"/>
                </a:lnTo>
                <a:lnTo>
                  <a:pt x="217170" y="264415"/>
                </a:lnTo>
                <a:lnTo>
                  <a:pt x="194564" y="240157"/>
                </a:lnTo>
                <a:lnTo>
                  <a:pt x="172465" y="215519"/>
                </a:lnTo>
                <a:lnTo>
                  <a:pt x="150748" y="190881"/>
                </a:lnTo>
                <a:lnTo>
                  <a:pt x="133603" y="171705"/>
                </a:lnTo>
                <a:lnTo>
                  <a:pt x="116332" y="152655"/>
                </a:lnTo>
                <a:lnTo>
                  <a:pt x="98805" y="133478"/>
                </a:lnTo>
                <a:lnTo>
                  <a:pt x="80898" y="114555"/>
                </a:lnTo>
                <a:lnTo>
                  <a:pt x="97409" y="105411"/>
                </a:lnTo>
                <a:lnTo>
                  <a:pt x="114046" y="95886"/>
                </a:lnTo>
                <a:lnTo>
                  <a:pt x="130936" y="85853"/>
                </a:lnTo>
                <a:lnTo>
                  <a:pt x="148082" y="75311"/>
                </a:lnTo>
                <a:lnTo>
                  <a:pt x="229996" y="75311"/>
                </a:lnTo>
                <a:lnTo>
                  <a:pt x="176784" y="10796"/>
                </a:lnTo>
                <a:lnTo>
                  <a:pt x="169417" y="2160"/>
                </a:lnTo>
                <a:lnTo>
                  <a:pt x="161544" y="0"/>
                </a:lnTo>
                <a:close/>
                <a:moveTo>
                  <a:pt x="-1455674" y="4649851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96" name="Freeform 796"/>
          <p:cNvSpPr/>
          <p:nvPr/>
        </p:nvSpPr>
        <p:spPr>
          <a:xfrm>
            <a:off x="6345935" y="1959229"/>
            <a:ext cx="578358" cy="536956"/>
          </a:xfrm>
          <a:custGeom>
            <a:avLst/>
            <a:gdLst/>
            <a:ahLst/>
            <a:cxnLst/>
            <a:rect l="0" t="0" r="0" b="0"/>
            <a:pathLst>
              <a:path w="578358" h="536956">
                <a:moveTo>
                  <a:pt x="547879" y="0"/>
                </a:moveTo>
                <a:lnTo>
                  <a:pt x="473457" y="0"/>
                </a:lnTo>
                <a:lnTo>
                  <a:pt x="481204" y="12700"/>
                </a:lnTo>
                <a:lnTo>
                  <a:pt x="489332" y="25908"/>
                </a:lnTo>
                <a:lnTo>
                  <a:pt x="497841" y="39625"/>
                </a:lnTo>
                <a:lnTo>
                  <a:pt x="506984" y="54102"/>
                </a:lnTo>
                <a:lnTo>
                  <a:pt x="467360" y="94869"/>
                </a:lnTo>
                <a:lnTo>
                  <a:pt x="427229" y="135510"/>
                </a:lnTo>
                <a:lnTo>
                  <a:pt x="228220" y="332868"/>
                </a:lnTo>
                <a:lnTo>
                  <a:pt x="192913" y="367412"/>
                </a:lnTo>
                <a:lnTo>
                  <a:pt x="156465" y="402210"/>
                </a:lnTo>
                <a:lnTo>
                  <a:pt x="118999" y="436754"/>
                </a:lnTo>
                <a:lnTo>
                  <a:pt x="80518" y="470789"/>
                </a:lnTo>
                <a:lnTo>
                  <a:pt x="40894" y="504318"/>
                </a:lnTo>
                <a:lnTo>
                  <a:pt x="0" y="536956"/>
                </a:lnTo>
                <a:lnTo>
                  <a:pt x="100076" y="536956"/>
                </a:lnTo>
                <a:lnTo>
                  <a:pt x="142875" y="500000"/>
                </a:lnTo>
                <a:lnTo>
                  <a:pt x="181992" y="464693"/>
                </a:lnTo>
                <a:lnTo>
                  <a:pt x="218821" y="430276"/>
                </a:lnTo>
                <a:lnTo>
                  <a:pt x="253238" y="397256"/>
                </a:lnTo>
                <a:lnTo>
                  <a:pt x="284988" y="366268"/>
                </a:lnTo>
                <a:lnTo>
                  <a:pt x="300356" y="350901"/>
                </a:lnTo>
                <a:lnTo>
                  <a:pt x="316738" y="334773"/>
                </a:lnTo>
                <a:lnTo>
                  <a:pt x="456946" y="196216"/>
                </a:lnTo>
                <a:lnTo>
                  <a:pt x="493649" y="159258"/>
                </a:lnTo>
                <a:lnTo>
                  <a:pt x="529971" y="122048"/>
                </a:lnTo>
                <a:lnTo>
                  <a:pt x="565912" y="84582"/>
                </a:lnTo>
                <a:lnTo>
                  <a:pt x="573659" y="70231"/>
                </a:lnTo>
                <a:lnTo>
                  <a:pt x="577343" y="62738"/>
                </a:lnTo>
                <a:lnTo>
                  <a:pt x="578358" y="54864"/>
                </a:lnTo>
                <a:lnTo>
                  <a:pt x="577088" y="46991"/>
                </a:lnTo>
                <a:lnTo>
                  <a:pt x="573279" y="39243"/>
                </a:lnTo>
                <a:lnTo>
                  <a:pt x="555245" y="11812"/>
                </a:lnTo>
                <a:lnTo>
                  <a:pt x="547879" y="0"/>
                </a:lnTo>
                <a:close/>
                <a:moveTo>
                  <a:pt x="-1447164" y="4898771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97" name="Freeform 797"/>
          <p:cNvSpPr/>
          <p:nvPr/>
        </p:nvSpPr>
        <p:spPr>
          <a:xfrm>
            <a:off x="6253607" y="2283460"/>
            <a:ext cx="200025" cy="106426"/>
          </a:xfrm>
          <a:custGeom>
            <a:avLst/>
            <a:gdLst/>
            <a:ahLst/>
            <a:cxnLst/>
            <a:rect l="0" t="0" r="0" b="0"/>
            <a:pathLst>
              <a:path w="200025" h="106426">
                <a:moveTo>
                  <a:pt x="81914" y="0"/>
                </a:moveTo>
                <a:lnTo>
                  <a:pt x="0" y="0"/>
                </a:lnTo>
                <a:lnTo>
                  <a:pt x="78358" y="95505"/>
                </a:lnTo>
                <a:lnTo>
                  <a:pt x="85852" y="104268"/>
                </a:lnTo>
                <a:lnTo>
                  <a:pt x="94107" y="106426"/>
                </a:lnTo>
                <a:lnTo>
                  <a:pt x="107188" y="106426"/>
                </a:lnTo>
                <a:lnTo>
                  <a:pt x="114172" y="103379"/>
                </a:lnTo>
                <a:lnTo>
                  <a:pt x="120269" y="97663"/>
                </a:lnTo>
                <a:lnTo>
                  <a:pt x="121920" y="96394"/>
                </a:lnTo>
                <a:lnTo>
                  <a:pt x="124078" y="95124"/>
                </a:lnTo>
                <a:lnTo>
                  <a:pt x="125857" y="93726"/>
                </a:lnTo>
                <a:lnTo>
                  <a:pt x="164338" y="59690"/>
                </a:lnTo>
                <a:lnTo>
                  <a:pt x="200025" y="27560"/>
                </a:lnTo>
                <a:lnTo>
                  <a:pt x="104521" y="27560"/>
                </a:lnTo>
                <a:lnTo>
                  <a:pt x="81914" y="0"/>
                </a:lnTo>
                <a:close/>
                <a:moveTo>
                  <a:pt x="-1679067" y="4574540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98" name="Freeform 798"/>
          <p:cNvSpPr/>
          <p:nvPr/>
        </p:nvSpPr>
        <p:spPr>
          <a:xfrm>
            <a:off x="6358128" y="1876425"/>
            <a:ext cx="535686" cy="434595"/>
          </a:xfrm>
          <a:custGeom>
            <a:avLst/>
            <a:gdLst/>
            <a:ahLst/>
            <a:cxnLst/>
            <a:rect l="0" t="0" r="0" b="0"/>
            <a:pathLst>
              <a:path w="535686" h="434595">
                <a:moveTo>
                  <a:pt x="469645" y="0"/>
                </a:moveTo>
                <a:lnTo>
                  <a:pt x="463423" y="0"/>
                </a:lnTo>
                <a:lnTo>
                  <a:pt x="457453" y="1779"/>
                </a:lnTo>
                <a:lnTo>
                  <a:pt x="452628" y="4827"/>
                </a:lnTo>
                <a:lnTo>
                  <a:pt x="449072" y="6478"/>
                </a:lnTo>
                <a:lnTo>
                  <a:pt x="446024" y="8636"/>
                </a:lnTo>
                <a:lnTo>
                  <a:pt x="443483" y="11430"/>
                </a:lnTo>
                <a:lnTo>
                  <a:pt x="364490" y="89790"/>
                </a:lnTo>
                <a:lnTo>
                  <a:pt x="251840" y="200279"/>
                </a:lnTo>
                <a:lnTo>
                  <a:pt x="179197" y="270003"/>
                </a:lnTo>
                <a:lnTo>
                  <a:pt x="143382" y="303911"/>
                </a:lnTo>
                <a:lnTo>
                  <a:pt x="107568" y="337312"/>
                </a:lnTo>
                <a:lnTo>
                  <a:pt x="71881" y="370079"/>
                </a:lnTo>
                <a:lnTo>
                  <a:pt x="36068" y="402464"/>
                </a:lnTo>
                <a:lnTo>
                  <a:pt x="0" y="434595"/>
                </a:lnTo>
                <a:lnTo>
                  <a:pt x="95504" y="434595"/>
                </a:lnTo>
                <a:lnTo>
                  <a:pt x="135889" y="397637"/>
                </a:lnTo>
                <a:lnTo>
                  <a:pt x="173481" y="362712"/>
                </a:lnTo>
                <a:lnTo>
                  <a:pt x="210819" y="327660"/>
                </a:lnTo>
                <a:lnTo>
                  <a:pt x="247650" y="292481"/>
                </a:lnTo>
                <a:lnTo>
                  <a:pt x="320548" y="222123"/>
                </a:lnTo>
                <a:lnTo>
                  <a:pt x="426719" y="117348"/>
                </a:lnTo>
                <a:lnTo>
                  <a:pt x="461264" y="82804"/>
                </a:lnTo>
                <a:lnTo>
                  <a:pt x="535686" y="82804"/>
                </a:lnTo>
                <a:lnTo>
                  <a:pt x="526288" y="67946"/>
                </a:lnTo>
                <a:lnTo>
                  <a:pt x="510413" y="41656"/>
                </a:lnTo>
                <a:lnTo>
                  <a:pt x="495300" y="15748"/>
                </a:lnTo>
                <a:lnTo>
                  <a:pt x="490347" y="9017"/>
                </a:lnTo>
                <a:lnTo>
                  <a:pt x="484378" y="4065"/>
                </a:lnTo>
                <a:lnTo>
                  <a:pt x="477392" y="1016"/>
                </a:lnTo>
                <a:lnTo>
                  <a:pt x="469645" y="0"/>
                </a:lnTo>
                <a:close/>
                <a:moveTo>
                  <a:pt x="-1376553" y="4981575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799" name="Freeform 799"/>
          <p:cNvSpPr/>
          <p:nvPr/>
        </p:nvSpPr>
        <p:spPr>
          <a:xfrm>
            <a:off x="6110351" y="1881252"/>
            <a:ext cx="818768" cy="694689"/>
          </a:xfrm>
          <a:custGeom>
            <a:avLst/>
            <a:gdLst/>
            <a:ahLst/>
            <a:cxnLst/>
            <a:rect l="0" t="0" r="0" b="0"/>
            <a:pathLst>
              <a:path w="818768" h="694689">
                <a:moveTo>
                  <a:pt x="747903" y="15620"/>
                </a:moveTo>
                <a:lnTo>
                  <a:pt x="742950" y="8889"/>
                </a:lnTo>
                <a:lnTo>
                  <a:pt x="736980" y="4064"/>
                </a:lnTo>
                <a:lnTo>
                  <a:pt x="729995" y="1015"/>
                </a:lnTo>
                <a:lnTo>
                  <a:pt x="722121" y="0"/>
                </a:lnTo>
                <a:lnTo>
                  <a:pt x="716026" y="0"/>
                </a:lnTo>
                <a:lnTo>
                  <a:pt x="709930" y="1777"/>
                </a:lnTo>
                <a:lnTo>
                  <a:pt x="705104" y="4826"/>
                </a:lnTo>
                <a:lnTo>
                  <a:pt x="701675" y="6477"/>
                </a:lnTo>
                <a:lnTo>
                  <a:pt x="698627" y="8635"/>
                </a:lnTo>
                <a:lnTo>
                  <a:pt x="696087" y="11302"/>
                </a:lnTo>
                <a:lnTo>
                  <a:pt x="656081" y="51053"/>
                </a:lnTo>
                <a:lnTo>
                  <a:pt x="617092" y="89789"/>
                </a:lnTo>
                <a:lnTo>
                  <a:pt x="578866" y="127508"/>
                </a:lnTo>
                <a:lnTo>
                  <a:pt x="541401" y="164338"/>
                </a:lnTo>
                <a:lnTo>
                  <a:pt x="504443" y="200278"/>
                </a:lnTo>
                <a:lnTo>
                  <a:pt x="467867" y="235458"/>
                </a:lnTo>
                <a:lnTo>
                  <a:pt x="431800" y="270002"/>
                </a:lnTo>
                <a:lnTo>
                  <a:pt x="395858" y="303910"/>
                </a:lnTo>
                <a:lnTo>
                  <a:pt x="360171" y="337184"/>
                </a:lnTo>
                <a:lnTo>
                  <a:pt x="324358" y="370077"/>
                </a:lnTo>
                <a:lnTo>
                  <a:pt x="288544" y="402463"/>
                </a:lnTo>
                <a:lnTo>
                  <a:pt x="252476" y="434466"/>
                </a:lnTo>
                <a:lnTo>
                  <a:pt x="208788" y="381253"/>
                </a:lnTo>
                <a:lnTo>
                  <a:pt x="186182" y="353948"/>
                </a:lnTo>
                <a:lnTo>
                  <a:pt x="177927" y="343915"/>
                </a:lnTo>
                <a:lnTo>
                  <a:pt x="176783" y="342519"/>
                </a:lnTo>
                <a:lnTo>
                  <a:pt x="169290" y="333756"/>
                </a:lnTo>
                <a:lnTo>
                  <a:pt x="161544" y="331596"/>
                </a:lnTo>
                <a:lnTo>
                  <a:pt x="155956" y="331596"/>
                </a:lnTo>
                <a:lnTo>
                  <a:pt x="148844" y="331596"/>
                </a:lnTo>
                <a:lnTo>
                  <a:pt x="142366" y="334264"/>
                </a:lnTo>
                <a:lnTo>
                  <a:pt x="137033" y="339089"/>
                </a:lnTo>
                <a:lnTo>
                  <a:pt x="135763" y="339597"/>
                </a:lnTo>
                <a:lnTo>
                  <a:pt x="105537" y="358647"/>
                </a:lnTo>
                <a:lnTo>
                  <a:pt x="76072" y="376301"/>
                </a:lnTo>
                <a:lnTo>
                  <a:pt x="46989" y="392557"/>
                </a:lnTo>
                <a:lnTo>
                  <a:pt x="18160" y="407543"/>
                </a:lnTo>
                <a:lnTo>
                  <a:pt x="11557" y="411860"/>
                </a:lnTo>
                <a:lnTo>
                  <a:pt x="6603" y="417576"/>
                </a:lnTo>
                <a:lnTo>
                  <a:pt x="3428" y="424433"/>
                </a:lnTo>
                <a:lnTo>
                  <a:pt x="2032" y="431927"/>
                </a:lnTo>
                <a:lnTo>
                  <a:pt x="0" y="440563"/>
                </a:lnTo>
                <a:lnTo>
                  <a:pt x="634" y="449071"/>
                </a:lnTo>
                <a:lnTo>
                  <a:pt x="3809" y="457072"/>
                </a:lnTo>
                <a:lnTo>
                  <a:pt x="9525" y="464184"/>
                </a:lnTo>
                <a:lnTo>
                  <a:pt x="34544" y="489203"/>
                </a:lnTo>
                <a:lnTo>
                  <a:pt x="58801" y="514984"/>
                </a:lnTo>
                <a:lnTo>
                  <a:pt x="82295" y="541146"/>
                </a:lnTo>
                <a:lnTo>
                  <a:pt x="105283" y="567435"/>
                </a:lnTo>
                <a:lnTo>
                  <a:pt x="130683" y="596010"/>
                </a:lnTo>
                <a:lnTo>
                  <a:pt x="156590" y="624585"/>
                </a:lnTo>
                <a:lnTo>
                  <a:pt x="183388" y="652652"/>
                </a:lnTo>
                <a:lnTo>
                  <a:pt x="211201" y="679577"/>
                </a:lnTo>
                <a:lnTo>
                  <a:pt x="212470" y="680846"/>
                </a:lnTo>
                <a:lnTo>
                  <a:pt x="214249" y="682116"/>
                </a:lnTo>
                <a:lnTo>
                  <a:pt x="215519" y="683006"/>
                </a:lnTo>
                <a:lnTo>
                  <a:pt x="221233" y="690752"/>
                </a:lnTo>
                <a:lnTo>
                  <a:pt x="228981" y="694689"/>
                </a:lnTo>
                <a:lnTo>
                  <a:pt x="237363" y="694689"/>
                </a:lnTo>
                <a:lnTo>
                  <a:pt x="243458" y="694689"/>
                </a:lnTo>
                <a:lnTo>
                  <a:pt x="249046" y="692912"/>
                </a:lnTo>
                <a:lnTo>
                  <a:pt x="254381" y="688594"/>
                </a:lnTo>
                <a:lnTo>
                  <a:pt x="298958" y="653922"/>
                </a:lnTo>
                <a:lnTo>
                  <a:pt x="342010" y="618363"/>
                </a:lnTo>
                <a:lnTo>
                  <a:pt x="383158" y="582676"/>
                </a:lnTo>
                <a:lnTo>
                  <a:pt x="422275" y="547370"/>
                </a:lnTo>
                <a:lnTo>
                  <a:pt x="459231" y="512952"/>
                </a:lnTo>
                <a:lnTo>
                  <a:pt x="493521" y="479933"/>
                </a:lnTo>
                <a:lnTo>
                  <a:pt x="525271" y="448945"/>
                </a:lnTo>
                <a:lnTo>
                  <a:pt x="540766" y="433577"/>
                </a:lnTo>
                <a:lnTo>
                  <a:pt x="556132" y="418338"/>
                </a:lnTo>
                <a:lnTo>
                  <a:pt x="571627" y="403097"/>
                </a:lnTo>
                <a:lnTo>
                  <a:pt x="587120" y="387858"/>
                </a:lnTo>
                <a:lnTo>
                  <a:pt x="623696" y="351916"/>
                </a:lnTo>
                <a:lnTo>
                  <a:pt x="660400" y="315595"/>
                </a:lnTo>
                <a:lnTo>
                  <a:pt x="697230" y="278891"/>
                </a:lnTo>
                <a:lnTo>
                  <a:pt x="734059" y="241934"/>
                </a:lnTo>
                <a:lnTo>
                  <a:pt x="770381" y="204723"/>
                </a:lnTo>
                <a:lnTo>
                  <a:pt x="806195" y="167385"/>
                </a:lnTo>
                <a:lnTo>
                  <a:pt x="814069" y="152908"/>
                </a:lnTo>
                <a:lnTo>
                  <a:pt x="817626" y="145414"/>
                </a:lnTo>
                <a:lnTo>
                  <a:pt x="818768" y="137668"/>
                </a:lnTo>
                <a:lnTo>
                  <a:pt x="817371" y="129666"/>
                </a:lnTo>
                <a:lnTo>
                  <a:pt x="813689" y="122046"/>
                </a:lnTo>
                <a:lnTo>
                  <a:pt x="795655" y="94614"/>
                </a:lnTo>
                <a:lnTo>
                  <a:pt x="778764" y="67818"/>
                </a:lnTo>
                <a:lnTo>
                  <a:pt x="762889" y="41528"/>
                </a:lnTo>
                <a:lnTo>
                  <a:pt x="747903" y="15620"/>
                </a:lnTo>
                <a:close/>
                <a:moveTo>
                  <a:pt x="-1149223" y="4976748"/>
                </a:moveTo>
              </a:path>
            </a:pathLst>
          </a:custGeom>
          <a:noFill/>
          <a:ln w="10667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00" name="Freeform 800"/>
          <p:cNvSpPr/>
          <p:nvPr/>
        </p:nvSpPr>
        <p:spPr>
          <a:xfrm>
            <a:off x="6191250" y="1964055"/>
            <a:ext cx="666495" cy="536956"/>
          </a:xfrm>
          <a:custGeom>
            <a:avLst/>
            <a:gdLst/>
            <a:ahLst/>
            <a:cxnLst/>
            <a:rect l="0" t="0" r="0" b="0"/>
            <a:pathLst>
              <a:path w="666495" h="536956">
                <a:moveTo>
                  <a:pt x="666495" y="53975"/>
                </a:moveTo>
                <a:lnTo>
                  <a:pt x="626871" y="94869"/>
                </a:lnTo>
                <a:lnTo>
                  <a:pt x="586613" y="135382"/>
                </a:lnTo>
                <a:lnTo>
                  <a:pt x="546354" y="175642"/>
                </a:lnTo>
                <a:lnTo>
                  <a:pt x="506221" y="215392"/>
                </a:lnTo>
                <a:lnTo>
                  <a:pt x="485267" y="236220"/>
                </a:lnTo>
                <a:lnTo>
                  <a:pt x="464184" y="256922"/>
                </a:lnTo>
                <a:lnTo>
                  <a:pt x="443103" y="277749"/>
                </a:lnTo>
                <a:lnTo>
                  <a:pt x="422147" y="298578"/>
                </a:lnTo>
                <a:lnTo>
                  <a:pt x="387731" y="332867"/>
                </a:lnTo>
                <a:lnTo>
                  <a:pt x="352297" y="367411"/>
                </a:lnTo>
                <a:lnTo>
                  <a:pt x="315848" y="402082"/>
                </a:lnTo>
                <a:lnTo>
                  <a:pt x="278510" y="436626"/>
                </a:lnTo>
                <a:lnTo>
                  <a:pt x="239903" y="470790"/>
                </a:lnTo>
                <a:lnTo>
                  <a:pt x="200278" y="504317"/>
                </a:lnTo>
                <a:lnTo>
                  <a:pt x="159511" y="536956"/>
                </a:lnTo>
                <a:lnTo>
                  <a:pt x="136271" y="513335"/>
                </a:lnTo>
                <a:lnTo>
                  <a:pt x="113665" y="489078"/>
                </a:lnTo>
                <a:lnTo>
                  <a:pt x="91566" y="464440"/>
                </a:lnTo>
                <a:lnTo>
                  <a:pt x="69722" y="439801"/>
                </a:lnTo>
                <a:lnTo>
                  <a:pt x="52704" y="420624"/>
                </a:lnTo>
                <a:lnTo>
                  <a:pt x="35433" y="401448"/>
                </a:lnTo>
                <a:lnTo>
                  <a:pt x="17907" y="382398"/>
                </a:lnTo>
                <a:lnTo>
                  <a:pt x="0" y="363474"/>
                </a:lnTo>
                <a:lnTo>
                  <a:pt x="16509" y="354204"/>
                </a:lnTo>
                <a:lnTo>
                  <a:pt x="33146" y="344679"/>
                </a:lnTo>
                <a:lnTo>
                  <a:pt x="49910" y="334773"/>
                </a:lnTo>
                <a:lnTo>
                  <a:pt x="67055" y="324231"/>
                </a:lnTo>
                <a:lnTo>
                  <a:pt x="112395" y="379476"/>
                </a:lnTo>
                <a:lnTo>
                  <a:pt x="135763" y="407798"/>
                </a:lnTo>
                <a:lnTo>
                  <a:pt x="144271" y="418211"/>
                </a:lnTo>
                <a:lnTo>
                  <a:pt x="145541" y="419736"/>
                </a:lnTo>
                <a:lnTo>
                  <a:pt x="152908" y="428372"/>
                </a:lnTo>
                <a:lnTo>
                  <a:pt x="161290" y="430530"/>
                </a:lnTo>
                <a:lnTo>
                  <a:pt x="166878" y="430530"/>
                </a:lnTo>
                <a:lnTo>
                  <a:pt x="174371" y="430530"/>
                </a:lnTo>
                <a:lnTo>
                  <a:pt x="181228" y="427482"/>
                </a:lnTo>
                <a:lnTo>
                  <a:pt x="187325" y="421894"/>
                </a:lnTo>
                <a:lnTo>
                  <a:pt x="189103" y="420624"/>
                </a:lnTo>
                <a:lnTo>
                  <a:pt x="231394" y="383794"/>
                </a:lnTo>
                <a:lnTo>
                  <a:pt x="269621" y="349505"/>
                </a:lnTo>
                <a:lnTo>
                  <a:pt x="307466" y="314706"/>
                </a:lnTo>
                <a:lnTo>
                  <a:pt x="345058" y="279909"/>
                </a:lnTo>
                <a:lnTo>
                  <a:pt x="382396" y="244730"/>
                </a:lnTo>
                <a:lnTo>
                  <a:pt x="419354" y="209550"/>
                </a:lnTo>
                <a:lnTo>
                  <a:pt x="455930" y="174372"/>
                </a:lnTo>
                <a:lnTo>
                  <a:pt x="492125" y="139192"/>
                </a:lnTo>
                <a:lnTo>
                  <a:pt x="527939" y="104141"/>
                </a:lnTo>
                <a:lnTo>
                  <a:pt x="563371" y="69216"/>
                </a:lnTo>
                <a:lnTo>
                  <a:pt x="598423" y="34417"/>
                </a:lnTo>
                <a:lnTo>
                  <a:pt x="632968" y="0"/>
                </a:lnTo>
                <a:lnTo>
                  <a:pt x="640588" y="12700"/>
                </a:lnTo>
                <a:lnTo>
                  <a:pt x="648716" y="25781"/>
                </a:lnTo>
                <a:lnTo>
                  <a:pt x="657352" y="39624"/>
                </a:lnTo>
                <a:lnTo>
                  <a:pt x="666495" y="53975"/>
                </a:lnTo>
                <a:close/>
                <a:moveTo>
                  <a:pt x="-1351280" y="4893945"/>
                </a:moveTo>
              </a:path>
            </a:pathLst>
          </a:custGeom>
          <a:noFill/>
          <a:ln w="10667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01" name="Freeform 801"/>
          <p:cNvSpPr/>
          <p:nvPr/>
        </p:nvSpPr>
        <p:spPr>
          <a:xfrm>
            <a:off x="638175" y="3000375"/>
            <a:ext cx="242608" cy="352425"/>
          </a:xfrm>
          <a:custGeom>
            <a:avLst/>
            <a:gdLst/>
            <a:ahLst/>
            <a:cxnLst/>
            <a:rect l="0" t="0" r="0" b="0"/>
            <a:pathLst>
              <a:path w="242608" h="352425">
                <a:moveTo>
                  <a:pt x="242608" y="88900"/>
                </a:moveTo>
                <a:lnTo>
                  <a:pt x="231927" y="53467"/>
                </a:lnTo>
                <a:lnTo>
                  <a:pt x="220789" y="38735"/>
                </a:lnTo>
                <a:lnTo>
                  <a:pt x="209092" y="23368"/>
                </a:lnTo>
                <a:lnTo>
                  <a:pt x="203327" y="20066"/>
                </a:lnTo>
                <a:lnTo>
                  <a:pt x="203327" y="113539"/>
                </a:lnTo>
                <a:lnTo>
                  <a:pt x="200380" y="131827"/>
                </a:lnTo>
                <a:lnTo>
                  <a:pt x="171602" y="178943"/>
                </a:lnTo>
                <a:lnTo>
                  <a:pt x="151231" y="195580"/>
                </a:lnTo>
                <a:lnTo>
                  <a:pt x="141795" y="204597"/>
                </a:lnTo>
                <a:lnTo>
                  <a:pt x="134112" y="215392"/>
                </a:lnTo>
                <a:lnTo>
                  <a:pt x="128473" y="234061"/>
                </a:lnTo>
                <a:lnTo>
                  <a:pt x="127977" y="254509"/>
                </a:lnTo>
                <a:lnTo>
                  <a:pt x="131267" y="275717"/>
                </a:lnTo>
                <a:lnTo>
                  <a:pt x="136994" y="296799"/>
                </a:lnTo>
                <a:lnTo>
                  <a:pt x="98704" y="275336"/>
                </a:lnTo>
                <a:lnTo>
                  <a:pt x="67576" y="244856"/>
                </a:lnTo>
                <a:lnTo>
                  <a:pt x="45935" y="207265"/>
                </a:lnTo>
                <a:lnTo>
                  <a:pt x="36131" y="164847"/>
                </a:lnTo>
                <a:lnTo>
                  <a:pt x="36131" y="163068"/>
                </a:lnTo>
                <a:lnTo>
                  <a:pt x="48666" y="99949"/>
                </a:lnTo>
                <a:lnTo>
                  <a:pt x="89408" y="49530"/>
                </a:lnTo>
                <a:lnTo>
                  <a:pt x="96621" y="46610"/>
                </a:lnTo>
                <a:lnTo>
                  <a:pt x="103822" y="42291"/>
                </a:lnTo>
                <a:lnTo>
                  <a:pt x="111036" y="40895"/>
                </a:lnTo>
                <a:lnTo>
                  <a:pt x="147548" y="38735"/>
                </a:lnTo>
                <a:lnTo>
                  <a:pt x="177177" y="52197"/>
                </a:lnTo>
                <a:lnTo>
                  <a:pt x="196811" y="78105"/>
                </a:lnTo>
                <a:lnTo>
                  <a:pt x="203327" y="113539"/>
                </a:lnTo>
                <a:lnTo>
                  <a:pt x="203327" y="20066"/>
                </a:lnTo>
                <a:lnTo>
                  <a:pt x="177990" y="5716"/>
                </a:lnTo>
                <a:lnTo>
                  <a:pt x="143116" y="0"/>
                </a:lnTo>
                <a:lnTo>
                  <a:pt x="107695" y="4827"/>
                </a:lnTo>
                <a:lnTo>
                  <a:pt x="59372" y="30989"/>
                </a:lnTo>
                <a:lnTo>
                  <a:pt x="32994" y="60325"/>
                </a:lnTo>
                <a:lnTo>
                  <a:pt x="14185" y="94108"/>
                </a:lnTo>
                <a:lnTo>
                  <a:pt x="2374" y="131191"/>
                </a:lnTo>
                <a:lnTo>
                  <a:pt x="0" y="151385"/>
                </a:lnTo>
                <a:lnTo>
                  <a:pt x="3975" y="200279"/>
                </a:lnTo>
                <a:lnTo>
                  <a:pt x="20281" y="243460"/>
                </a:lnTo>
                <a:lnTo>
                  <a:pt x="46850" y="280671"/>
                </a:lnTo>
                <a:lnTo>
                  <a:pt x="81597" y="311404"/>
                </a:lnTo>
                <a:lnTo>
                  <a:pt x="122427" y="335280"/>
                </a:lnTo>
                <a:lnTo>
                  <a:pt x="167271" y="352045"/>
                </a:lnTo>
                <a:lnTo>
                  <a:pt x="179463" y="352425"/>
                </a:lnTo>
                <a:lnTo>
                  <a:pt x="189077" y="346203"/>
                </a:lnTo>
                <a:lnTo>
                  <a:pt x="194640" y="335661"/>
                </a:lnTo>
                <a:lnTo>
                  <a:pt x="194652" y="322961"/>
                </a:lnTo>
                <a:lnTo>
                  <a:pt x="187363" y="299212"/>
                </a:lnTo>
                <a:lnTo>
                  <a:pt x="186601" y="296799"/>
                </a:lnTo>
                <a:lnTo>
                  <a:pt x="178435" y="271780"/>
                </a:lnTo>
                <a:lnTo>
                  <a:pt x="174383" y="244856"/>
                </a:lnTo>
                <a:lnTo>
                  <a:pt x="181698" y="222631"/>
                </a:lnTo>
                <a:lnTo>
                  <a:pt x="195021" y="208408"/>
                </a:lnTo>
                <a:lnTo>
                  <a:pt x="208368" y="194946"/>
                </a:lnTo>
                <a:lnTo>
                  <a:pt x="220624" y="180595"/>
                </a:lnTo>
                <a:lnTo>
                  <a:pt x="230720" y="163068"/>
                </a:lnTo>
                <a:lnTo>
                  <a:pt x="241935" y="126492"/>
                </a:lnTo>
                <a:lnTo>
                  <a:pt x="242608" y="88900"/>
                </a:lnTo>
                <a:close/>
                <a:moveTo>
                  <a:pt x="3130550" y="3857625"/>
                </a:moveTo>
              </a:path>
            </a:pathLst>
          </a:custGeom>
          <a:solidFill>
            <a:srgbClr val="BFBFBF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02" name="Freeform 802"/>
          <p:cNvSpPr/>
          <p:nvPr/>
        </p:nvSpPr>
        <p:spPr>
          <a:xfrm>
            <a:off x="909967" y="3000375"/>
            <a:ext cx="242430" cy="352425"/>
          </a:xfrm>
          <a:custGeom>
            <a:avLst/>
            <a:gdLst/>
            <a:ahLst/>
            <a:cxnLst/>
            <a:rect l="0" t="0" r="0" b="0"/>
            <a:pathLst>
              <a:path w="242430" h="352425">
                <a:moveTo>
                  <a:pt x="242430" y="88900"/>
                </a:moveTo>
                <a:lnTo>
                  <a:pt x="231318" y="53467"/>
                </a:lnTo>
                <a:lnTo>
                  <a:pt x="219774" y="38735"/>
                </a:lnTo>
                <a:lnTo>
                  <a:pt x="207645" y="23368"/>
                </a:lnTo>
                <a:lnTo>
                  <a:pt x="203315" y="20829"/>
                </a:lnTo>
                <a:lnTo>
                  <a:pt x="203315" y="113539"/>
                </a:lnTo>
                <a:lnTo>
                  <a:pt x="200381" y="131827"/>
                </a:lnTo>
                <a:lnTo>
                  <a:pt x="171603" y="178943"/>
                </a:lnTo>
                <a:lnTo>
                  <a:pt x="151054" y="195580"/>
                </a:lnTo>
                <a:lnTo>
                  <a:pt x="141186" y="204597"/>
                </a:lnTo>
                <a:lnTo>
                  <a:pt x="132664" y="215392"/>
                </a:lnTo>
                <a:lnTo>
                  <a:pt x="127254" y="234061"/>
                </a:lnTo>
                <a:lnTo>
                  <a:pt x="127254" y="254509"/>
                </a:lnTo>
                <a:lnTo>
                  <a:pt x="131039" y="275717"/>
                </a:lnTo>
                <a:lnTo>
                  <a:pt x="136995" y="296799"/>
                </a:lnTo>
                <a:lnTo>
                  <a:pt x="98501" y="275336"/>
                </a:lnTo>
                <a:lnTo>
                  <a:pt x="67031" y="244856"/>
                </a:lnTo>
                <a:lnTo>
                  <a:pt x="45314" y="207265"/>
                </a:lnTo>
                <a:lnTo>
                  <a:pt x="36119" y="164847"/>
                </a:lnTo>
                <a:lnTo>
                  <a:pt x="36094" y="163068"/>
                </a:lnTo>
                <a:lnTo>
                  <a:pt x="37478" y="131191"/>
                </a:lnTo>
                <a:lnTo>
                  <a:pt x="65253" y="72264"/>
                </a:lnTo>
                <a:lnTo>
                  <a:pt x="103810" y="42291"/>
                </a:lnTo>
                <a:lnTo>
                  <a:pt x="146939" y="38735"/>
                </a:lnTo>
                <a:lnTo>
                  <a:pt x="176632" y="52197"/>
                </a:lnTo>
                <a:lnTo>
                  <a:pt x="196596" y="78105"/>
                </a:lnTo>
                <a:lnTo>
                  <a:pt x="203315" y="113539"/>
                </a:lnTo>
                <a:lnTo>
                  <a:pt x="203315" y="20829"/>
                </a:lnTo>
                <a:lnTo>
                  <a:pt x="177381" y="5716"/>
                </a:lnTo>
                <a:lnTo>
                  <a:pt x="142926" y="0"/>
                </a:lnTo>
                <a:lnTo>
                  <a:pt x="107658" y="4827"/>
                </a:lnTo>
                <a:lnTo>
                  <a:pt x="58763" y="30989"/>
                </a:lnTo>
                <a:lnTo>
                  <a:pt x="32792" y="60325"/>
                </a:lnTo>
                <a:lnTo>
                  <a:pt x="14186" y="94108"/>
                </a:lnTo>
                <a:lnTo>
                  <a:pt x="2375" y="131191"/>
                </a:lnTo>
                <a:lnTo>
                  <a:pt x="0" y="151385"/>
                </a:lnTo>
                <a:lnTo>
                  <a:pt x="3975" y="200279"/>
                </a:lnTo>
                <a:lnTo>
                  <a:pt x="20282" y="243460"/>
                </a:lnTo>
                <a:lnTo>
                  <a:pt x="46850" y="280671"/>
                </a:lnTo>
                <a:lnTo>
                  <a:pt x="81598" y="311404"/>
                </a:lnTo>
                <a:lnTo>
                  <a:pt x="122428" y="335280"/>
                </a:lnTo>
                <a:lnTo>
                  <a:pt x="167272" y="352045"/>
                </a:lnTo>
                <a:lnTo>
                  <a:pt x="179451" y="352425"/>
                </a:lnTo>
                <a:lnTo>
                  <a:pt x="189078" y="346203"/>
                </a:lnTo>
                <a:lnTo>
                  <a:pt x="194640" y="335661"/>
                </a:lnTo>
                <a:lnTo>
                  <a:pt x="194666" y="322961"/>
                </a:lnTo>
                <a:lnTo>
                  <a:pt x="187363" y="299212"/>
                </a:lnTo>
                <a:lnTo>
                  <a:pt x="186589" y="296799"/>
                </a:lnTo>
                <a:lnTo>
                  <a:pt x="178435" y="271780"/>
                </a:lnTo>
                <a:lnTo>
                  <a:pt x="174384" y="244856"/>
                </a:lnTo>
                <a:lnTo>
                  <a:pt x="181699" y="222631"/>
                </a:lnTo>
                <a:lnTo>
                  <a:pt x="195021" y="208408"/>
                </a:lnTo>
                <a:lnTo>
                  <a:pt x="208369" y="194946"/>
                </a:lnTo>
                <a:lnTo>
                  <a:pt x="220612" y="180595"/>
                </a:lnTo>
                <a:lnTo>
                  <a:pt x="230708" y="163068"/>
                </a:lnTo>
                <a:lnTo>
                  <a:pt x="241910" y="126492"/>
                </a:lnTo>
                <a:lnTo>
                  <a:pt x="242430" y="88900"/>
                </a:lnTo>
                <a:close/>
                <a:moveTo>
                  <a:pt x="2858758" y="3857625"/>
                </a:moveTo>
              </a:path>
            </a:pathLst>
          </a:custGeom>
          <a:solidFill>
            <a:srgbClr val="BFBFBF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03" name="Freeform 803"/>
          <p:cNvSpPr/>
          <p:nvPr/>
        </p:nvSpPr>
        <p:spPr>
          <a:xfrm>
            <a:off x="4591050" y="5981700"/>
            <a:ext cx="241680" cy="351994"/>
          </a:xfrm>
          <a:custGeom>
            <a:avLst/>
            <a:gdLst/>
            <a:ahLst/>
            <a:cxnLst/>
            <a:rect l="0" t="0" r="0" b="0"/>
            <a:pathLst>
              <a:path w="241680" h="351994">
                <a:moveTo>
                  <a:pt x="241680" y="202070"/>
                </a:moveTo>
                <a:lnTo>
                  <a:pt x="237744" y="152578"/>
                </a:lnTo>
                <a:lnTo>
                  <a:pt x="221488" y="108979"/>
                </a:lnTo>
                <a:lnTo>
                  <a:pt x="205740" y="86742"/>
                </a:lnTo>
                <a:lnTo>
                  <a:pt x="205740" y="187541"/>
                </a:lnTo>
                <a:lnTo>
                  <a:pt x="204215" y="221628"/>
                </a:lnTo>
                <a:lnTo>
                  <a:pt x="176148" y="280556"/>
                </a:lnTo>
                <a:lnTo>
                  <a:pt x="145541" y="306744"/>
                </a:lnTo>
                <a:lnTo>
                  <a:pt x="94741" y="313449"/>
                </a:lnTo>
                <a:lnTo>
                  <a:pt x="65151" y="300394"/>
                </a:lnTo>
                <a:lnTo>
                  <a:pt x="45592" y="274524"/>
                </a:lnTo>
                <a:lnTo>
                  <a:pt x="39115" y="238418"/>
                </a:lnTo>
                <a:lnTo>
                  <a:pt x="42036" y="220244"/>
                </a:lnTo>
                <a:lnTo>
                  <a:pt x="70739" y="174448"/>
                </a:lnTo>
                <a:lnTo>
                  <a:pt x="91059" y="157188"/>
                </a:lnTo>
                <a:lnTo>
                  <a:pt x="100457" y="148082"/>
                </a:lnTo>
                <a:lnTo>
                  <a:pt x="108203" y="136640"/>
                </a:lnTo>
                <a:lnTo>
                  <a:pt x="113791" y="118619"/>
                </a:lnTo>
                <a:lnTo>
                  <a:pt x="114300" y="98133"/>
                </a:lnTo>
                <a:lnTo>
                  <a:pt x="110997" y="76556"/>
                </a:lnTo>
                <a:lnTo>
                  <a:pt x="105283" y="55245"/>
                </a:lnTo>
                <a:lnTo>
                  <a:pt x="143383" y="76734"/>
                </a:lnTo>
                <a:lnTo>
                  <a:pt x="174371" y="107214"/>
                </a:lnTo>
                <a:lnTo>
                  <a:pt x="195960" y="144793"/>
                </a:lnTo>
                <a:lnTo>
                  <a:pt x="205740" y="187541"/>
                </a:lnTo>
                <a:lnTo>
                  <a:pt x="205740" y="86742"/>
                </a:lnTo>
                <a:lnTo>
                  <a:pt x="195071" y="71603"/>
                </a:lnTo>
                <a:lnTo>
                  <a:pt x="176657" y="55245"/>
                </a:lnTo>
                <a:lnTo>
                  <a:pt x="160401" y="40767"/>
                </a:lnTo>
                <a:lnTo>
                  <a:pt x="119760" y="16790"/>
                </a:lnTo>
                <a:lnTo>
                  <a:pt x="75057" y="0"/>
                </a:lnTo>
                <a:lnTo>
                  <a:pt x="62991" y="254"/>
                </a:lnTo>
                <a:lnTo>
                  <a:pt x="53340" y="6363"/>
                </a:lnTo>
                <a:lnTo>
                  <a:pt x="47878" y="16561"/>
                </a:lnTo>
                <a:lnTo>
                  <a:pt x="47752" y="29071"/>
                </a:lnTo>
                <a:lnTo>
                  <a:pt x="54990" y="52934"/>
                </a:lnTo>
                <a:lnTo>
                  <a:pt x="63880" y="80315"/>
                </a:lnTo>
                <a:lnTo>
                  <a:pt x="67945" y="107176"/>
                </a:lnTo>
                <a:lnTo>
                  <a:pt x="60705" y="129375"/>
                </a:lnTo>
                <a:lnTo>
                  <a:pt x="47371" y="144209"/>
                </a:lnTo>
                <a:lnTo>
                  <a:pt x="34163" y="157544"/>
                </a:lnTo>
                <a:lnTo>
                  <a:pt x="21971" y="171705"/>
                </a:lnTo>
                <a:lnTo>
                  <a:pt x="11938" y="188989"/>
                </a:lnTo>
                <a:lnTo>
                  <a:pt x="634" y="225718"/>
                </a:lnTo>
                <a:lnTo>
                  <a:pt x="0" y="263665"/>
                </a:lnTo>
                <a:lnTo>
                  <a:pt x="10667" y="299174"/>
                </a:lnTo>
                <a:lnTo>
                  <a:pt x="33401" y="328549"/>
                </a:lnTo>
                <a:lnTo>
                  <a:pt x="64389" y="346202"/>
                </a:lnTo>
                <a:lnTo>
                  <a:pt x="99186" y="351994"/>
                </a:lnTo>
                <a:lnTo>
                  <a:pt x="134492" y="347155"/>
                </a:lnTo>
                <a:lnTo>
                  <a:pt x="183260" y="320968"/>
                </a:lnTo>
                <a:lnTo>
                  <a:pt x="209041" y="291618"/>
                </a:lnTo>
                <a:lnTo>
                  <a:pt x="234569" y="240602"/>
                </a:lnTo>
                <a:lnTo>
                  <a:pt x="239395" y="221603"/>
                </a:lnTo>
                <a:lnTo>
                  <a:pt x="241680" y="202070"/>
                </a:lnTo>
                <a:close/>
                <a:moveTo>
                  <a:pt x="-3916820" y="876300"/>
                </a:moveTo>
              </a:path>
            </a:pathLst>
          </a:custGeom>
          <a:solidFill>
            <a:srgbClr val="BFBFBF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04" name="Freeform 804"/>
          <p:cNvSpPr/>
          <p:nvPr/>
        </p:nvSpPr>
        <p:spPr>
          <a:xfrm>
            <a:off x="4863210" y="5981700"/>
            <a:ext cx="241809" cy="351994"/>
          </a:xfrm>
          <a:custGeom>
            <a:avLst/>
            <a:gdLst/>
            <a:ahLst/>
            <a:cxnLst/>
            <a:rect l="0" t="0" r="0" b="0"/>
            <a:pathLst>
              <a:path w="241809" h="351994">
                <a:moveTo>
                  <a:pt x="241809" y="202070"/>
                </a:moveTo>
                <a:lnTo>
                  <a:pt x="237872" y="152578"/>
                </a:lnTo>
                <a:lnTo>
                  <a:pt x="221616" y="108979"/>
                </a:lnTo>
                <a:lnTo>
                  <a:pt x="205868" y="86742"/>
                </a:lnTo>
                <a:lnTo>
                  <a:pt x="205868" y="187541"/>
                </a:lnTo>
                <a:lnTo>
                  <a:pt x="203709" y="221628"/>
                </a:lnTo>
                <a:lnTo>
                  <a:pt x="176023" y="280556"/>
                </a:lnTo>
                <a:lnTo>
                  <a:pt x="145669" y="306744"/>
                </a:lnTo>
                <a:lnTo>
                  <a:pt x="94107" y="313449"/>
                </a:lnTo>
                <a:lnTo>
                  <a:pt x="64643" y="300394"/>
                </a:lnTo>
                <a:lnTo>
                  <a:pt x="45212" y="274524"/>
                </a:lnTo>
                <a:lnTo>
                  <a:pt x="39243" y="238418"/>
                </a:lnTo>
                <a:lnTo>
                  <a:pt x="42165" y="220244"/>
                </a:lnTo>
                <a:lnTo>
                  <a:pt x="69469" y="174448"/>
                </a:lnTo>
                <a:lnTo>
                  <a:pt x="91060" y="157188"/>
                </a:lnTo>
                <a:lnTo>
                  <a:pt x="100585" y="148082"/>
                </a:lnTo>
                <a:lnTo>
                  <a:pt x="108331" y="136640"/>
                </a:lnTo>
                <a:lnTo>
                  <a:pt x="113919" y="118619"/>
                </a:lnTo>
                <a:lnTo>
                  <a:pt x="114428" y="98133"/>
                </a:lnTo>
                <a:lnTo>
                  <a:pt x="111125" y="76556"/>
                </a:lnTo>
                <a:lnTo>
                  <a:pt x="105411" y="55245"/>
                </a:lnTo>
                <a:lnTo>
                  <a:pt x="143511" y="76734"/>
                </a:lnTo>
                <a:lnTo>
                  <a:pt x="174499" y="107214"/>
                </a:lnTo>
                <a:lnTo>
                  <a:pt x="196088" y="144793"/>
                </a:lnTo>
                <a:lnTo>
                  <a:pt x="205868" y="187541"/>
                </a:lnTo>
                <a:lnTo>
                  <a:pt x="205868" y="86742"/>
                </a:lnTo>
                <a:lnTo>
                  <a:pt x="195199" y="71603"/>
                </a:lnTo>
                <a:lnTo>
                  <a:pt x="176785" y="55245"/>
                </a:lnTo>
                <a:lnTo>
                  <a:pt x="160529" y="40767"/>
                </a:lnTo>
                <a:lnTo>
                  <a:pt x="119888" y="16790"/>
                </a:lnTo>
                <a:lnTo>
                  <a:pt x="75185" y="0"/>
                </a:lnTo>
                <a:lnTo>
                  <a:pt x="63119" y="254"/>
                </a:lnTo>
                <a:lnTo>
                  <a:pt x="53341" y="6363"/>
                </a:lnTo>
                <a:lnTo>
                  <a:pt x="47372" y="16561"/>
                </a:lnTo>
                <a:lnTo>
                  <a:pt x="46482" y="29071"/>
                </a:lnTo>
                <a:lnTo>
                  <a:pt x="54356" y="52934"/>
                </a:lnTo>
                <a:lnTo>
                  <a:pt x="63374" y="80315"/>
                </a:lnTo>
                <a:lnTo>
                  <a:pt x="67437" y="107176"/>
                </a:lnTo>
                <a:lnTo>
                  <a:pt x="60834" y="129375"/>
                </a:lnTo>
                <a:lnTo>
                  <a:pt x="47499" y="144209"/>
                </a:lnTo>
                <a:lnTo>
                  <a:pt x="34163" y="157544"/>
                </a:lnTo>
                <a:lnTo>
                  <a:pt x="21463" y="171705"/>
                </a:lnTo>
                <a:lnTo>
                  <a:pt x="10668" y="188989"/>
                </a:lnTo>
                <a:lnTo>
                  <a:pt x="255" y="225718"/>
                </a:lnTo>
                <a:lnTo>
                  <a:pt x="0" y="263665"/>
                </a:lnTo>
                <a:lnTo>
                  <a:pt x="10795" y="299174"/>
                </a:lnTo>
                <a:lnTo>
                  <a:pt x="33529" y="328549"/>
                </a:lnTo>
                <a:lnTo>
                  <a:pt x="64517" y="346202"/>
                </a:lnTo>
                <a:lnTo>
                  <a:pt x="99061" y="351994"/>
                </a:lnTo>
                <a:lnTo>
                  <a:pt x="133986" y="347155"/>
                </a:lnTo>
                <a:lnTo>
                  <a:pt x="182118" y="320968"/>
                </a:lnTo>
                <a:lnTo>
                  <a:pt x="209043" y="291618"/>
                </a:lnTo>
                <a:lnTo>
                  <a:pt x="234697" y="240602"/>
                </a:lnTo>
                <a:lnTo>
                  <a:pt x="239523" y="221603"/>
                </a:lnTo>
                <a:lnTo>
                  <a:pt x="241809" y="202070"/>
                </a:lnTo>
                <a:close/>
                <a:moveTo>
                  <a:pt x="-4188980" y="876300"/>
                </a:moveTo>
              </a:path>
            </a:pathLst>
          </a:custGeom>
          <a:solidFill>
            <a:srgbClr val="BFBFBF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05" name="Freeform 805"/>
          <p:cNvSpPr/>
          <p:nvPr/>
        </p:nvSpPr>
        <p:spPr>
          <a:xfrm>
            <a:off x="6105525" y="3000375"/>
            <a:ext cx="241680" cy="352425"/>
          </a:xfrm>
          <a:custGeom>
            <a:avLst/>
            <a:gdLst/>
            <a:ahLst/>
            <a:cxnLst/>
            <a:rect l="0" t="0" r="0" b="0"/>
            <a:pathLst>
              <a:path w="241680" h="352425">
                <a:moveTo>
                  <a:pt x="241680" y="88900"/>
                </a:moveTo>
                <a:lnTo>
                  <a:pt x="231013" y="53467"/>
                </a:lnTo>
                <a:lnTo>
                  <a:pt x="219964" y="38735"/>
                </a:lnTo>
                <a:lnTo>
                  <a:pt x="208279" y="23368"/>
                </a:lnTo>
                <a:lnTo>
                  <a:pt x="202565" y="20193"/>
                </a:lnTo>
                <a:lnTo>
                  <a:pt x="202565" y="113539"/>
                </a:lnTo>
                <a:lnTo>
                  <a:pt x="199644" y="131827"/>
                </a:lnTo>
                <a:lnTo>
                  <a:pt x="170941" y="178943"/>
                </a:lnTo>
                <a:lnTo>
                  <a:pt x="150621" y="195580"/>
                </a:lnTo>
                <a:lnTo>
                  <a:pt x="141223" y="204597"/>
                </a:lnTo>
                <a:lnTo>
                  <a:pt x="133477" y="215392"/>
                </a:lnTo>
                <a:lnTo>
                  <a:pt x="127889" y="234061"/>
                </a:lnTo>
                <a:lnTo>
                  <a:pt x="127380" y="254509"/>
                </a:lnTo>
                <a:lnTo>
                  <a:pt x="130683" y="275717"/>
                </a:lnTo>
                <a:lnTo>
                  <a:pt x="136397" y="296799"/>
                </a:lnTo>
                <a:lnTo>
                  <a:pt x="98297" y="275336"/>
                </a:lnTo>
                <a:lnTo>
                  <a:pt x="67309" y="244856"/>
                </a:lnTo>
                <a:lnTo>
                  <a:pt x="45720" y="207265"/>
                </a:lnTo>
                <a:lnTo>
                  <a:pt x="35940" y="164847"/>
                </a:lnTo>
                <a:lnTo>
                  <a:pt x="35940" y="163068"/>
                </a:lnTo>
                <a:lnTo>
                  <a:pt x="48386" y="99949"/>
                </a:lnTo>
                <a:lnTo>
                  <a:pt x="89027" y="49530"/>
                </a:lnTo>
                <a:lnTo>
                  <a:pt x="96139" y="46610"/>
                </a:lnTo>
                <a:lnTo>
                  <a:pt x="103378" y="42291"/>
                </a:lnTo>
                <a:lnTo>
                  <a:pt x="110616" y="40895"/>
                </a:lnTo>
                <a:lnTo>
                  <a:pt x="146939" y="38735"/>
                </a:lnTo>
                <a:lnTo>
                  <a:pt x="176529" y="52197"/>
                </a:lnTo>
                <a:lnTo>
                  <a:pt x="196088" y="78105"/>
                </a:lnTo>
                <a:lnTo>
                  <a:pt x="202565" y="113539"/>
                </a:lnTo>
                <a:lnTo>
                  <a:pt x="202565" y="20193"/>
                </a:lnTo>
                <a:lnTo>
                  <a:pt x="177291" y="5716"/>
                </a:lnTo>
                <a:lnTo>
                  <a:pt x="142494" y="0"/>
                </a:lnTo>
                <a:lnTo>
                  <a:pt x="107188" y="4827"/>
                </a:lnTo>
                <a:lnTo>
                  <a:pt x="59054" y="30989"/>
                </a:lnTo>
                <a:lnTo>
                  <a:pt x="32765" y="60325"/>
                </a:lnTo>
                <a:lnTo>
                  <a:pt x="14096" y="94108"/>
                </a:lnTo>
                <a:lnTo>
                  <a:pt x="2285" y="131191"/>
                </a:lnTo>
                <a:lnTo>
                  <a:pt x="0" y="151385"/>
                </a:lnTo>
                <a:lnTo>
                  <a:pt x="3936" y="200279"/>
                </a:lnTo>
                <a:lnTo>
                  <a:pt x="20192" y="243460"/>
                </a:lnTo>
                <a:lnTo>
                  <a:pt x="46609" y="280671"/>
                </a:lnTo>
                <a:lnTo>
                  <a:pt x="81279" y="311404"/>
                </a:lnTo>
                <a:lnTo>
                  <a:pt x="121920" y="335280"/>
                </a:lnTo>
                <a:lnTo>
                  <a:pt x="166623" y="352045"/>
                </a:lnTo>
                <a:lnTo>
                  <a:pt x="178689" y="352425"/>
                </a:lnTo>
                <a:lnTo>
                  <a:pt x="188340" y="346203"/>
                </a:lnTo>
                <a:lnTo>
                  <a:pt x="186690" y="299212"/>
                </a:lnTo>
                <a:lnTo>
                  <a:pt x="177800" y="271780"/>
                </a:lnTo>
                <a:lnTo>
                  <a:pt x="173735" y="244856"/>
                </a:lnTo>
                <a:lnTo>
                  <a:pt x="180975" y="222631"/>
                </a:lnTo>
                <a:lnTo>
                  <a:pt x="194309" y="208408"/>
                </a:lnTo>
                <a:lnTo>
                  <a:pt x="207517" y="194946"/>
                </a:lnTo>
                <a:lnTo>
                  <a:pt x="219709" y="180595"/>
                </a:lnTo>
                <a:lnTo>
                  <a:pt x="229870" y="163068"/>
                </a:lnTo>
                <a:lnTo>
                  <a:pt x="241046" y="126492"/>
                </a:lnTo>
                <a:lnTo>
                  <a:pt x="241680" y="88900"/>
                </a:lnTo>
                <a:close/>
                <a:moveTo>
                  <a:pt x="-2336800" y="3857625"/>
                </a:moveTo>
              </a:path>
            </a:pathLst>
          </a:custGeom>
          <a:solidFill>
            <a:srgbClr val="3660A1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06" name="Freeform 806"/>
          <p:cNvSpPr/>
          <p:nvPr/>
        </p:nvSpPr>
        <p:spPr>
          <a:xfrm>
            <a:off x="6377813" y="3000375"/>
            <a:ext cx="241554" cy="352425"/>
          </a:xfrm>
          <a:custGeom>
            <a:avLst/>
            <a:gdLst/>
            <a:ahLst/>
            <a:cxnLst/>
            <a:rect l="0" t="0" r="0" b="0"/>
            <a:pathLst>
              <a:path w="241554" h="352425">
                <a:moveTo>
                  <a:pt x="241554" y="88900"/>
                </a:moveTo>
                <a:lnTo>
                  <a:pt x="230505" y="53467"/>
                </a:lnTo>
                <a:lnTo>
                  <a:pt x="218947" y="38735"/>
                </a:lnTo>
                <a:lnTo>
                  <a:pt x="206882" y="23368"/>
                </a:lnTo>
                <a:lnTo>
                  <a:pt x="202565" y="20829"/>
                </a:lnTo>
                <a:lnTo>
                  <a:pt x="202565" y="113539"/>
                </a:lnTo>
                <a:lnTo>
                  <a:pt x="199643" y="131827"/>
                </a:lnTo>
                <a:lnTo>
                  <a:pt x="170942" y="178943"/>
                </a:lnTo>
                <a:lnTo>
                  <a:pt x="150494" y="195580"/>
                </a:lnTo>
                <a:lnTo>
                  <a:pt x="140589" y="204597"/>
                </a:lnTo>
                <a:lnTo>
                  <a:pt x="132080" y="215392"/>
                </a:lnTo>
                <a:lnTo>
                  <a:pt x="126745" y="234061"/>
                </a:lnTo>
                <a:lnTo>
                  <a:pt x="126745" y="254509"/>
                </a:lnTo>
                <a:lnTo>
                  <a:pt x="130555" y="275717"/>
                </a:lnTo>
                <a:lnTo>
                  <a:pt x="136397" y="296799"/>
                </a:lnTo>
                <a:lnTo>
                  <a:pt x="98044" y="275336"/>
                </a:lnTo>
                <a:lnTo>
                  <a:pt x="66675" y="244856"/>
                </a:lnTo>
                <a:lnTo>
                  <a:pt x="45084" y="207265"/>
                </a:lnTo>
                <a:lnTo>
                  <a:pt x="36067" y="164847"/>
                </a:lnTo>
                <a:lnTo>
                  <a:pt x="35940" y="163068"/>
                </a:lnTo>
                <a:lnTo>
                  <a:pt x="37338" y="131191"/>
                </a:lnTo>
                <a:lnTo>
                  <a:pt x="64896" y="72264"/>
                </a:lnTo>
                <a:lnTo>
                  <a:pt x="103377" y="42291"/>
                </a:lnTo>
                <a:lnTo>
                  <a:pt x="146304" y="38735"/>
                </a:lnTo>
                <a:lnTo>
                  <a:pt x="176021" y="52197"/>
                </a:lnTo>
                <a:lnTo>
                  <a:pt x="195833" y="78105"/>
                </a:lnTo>
                <a:lnTo>
                  <a:pt x="202565" y="113539"/>
                </a:lnTo>
                <a:lnTo>
                  <a:pt x="202565" y="20829"/>
                </a:lnTo>
                <a:lnTo>
                  <a:pt x="176783" y="5716"/>
                </a:lnTo>
                <a:lnTo>
                  <a:pt x="142367" y="0"/>
                </a:lnTo>
                <a:lnTo>
                  <a:pt x="107188" y="4827"/>
                </a:lnTo>
                <a:lnTo>
                  <a:pt x="58546" y="30989"/>
                </a:lnTo>
                <a:lnTo>
                  <a:pt x="32639" y="60325"/>
                </a:lnTo>
                <a:lnTo>
                  <a:pt x="14096" y="94108"/>
                </a:lnTo>
                <a:lnTo>
                  <a:pt x="2285" y="131191"/>
                </a:lnTo>
                <a:lnTo>
                  <a:pt x="0" y="151385"/>
                </a:lnTo>
                <a:lnTo>
                  <a:pt x="3937" y="200279"/>
                </a:lnTo>
                <a:lnTo>
                  <a:pt x="20192" y="243460"/>
                </a:lnTo>
                <a:lnTo>
                  <a:pt x="46608" y="280671"/>
                </a:lnTo>
                <a:lnTo>
                  <a:pt x="81279" y="311404"/>
                </a:lnTo>
                <a:lnTo>
                  <a:pt x="121920" y="335280"/>
                </a:lnTo>
                <a:lnTo>
                  <a:pt x="166623" y="352045"/>
                </a:lnTo>
                <a:lnTo>
                  <a:pt x="178816" y="352425"/>
                </a:lnTo>
                <a:lnTo>
                  <a:pt x="188341" y="346203"/>
                </a:lnTo>
                <a:lnTo>
                  <a:pt x="186690" y="299212"/>
                </a:lnTo>
                <a:lnTo>
                  <a:pt x="177800" y="271780"/>
                </a:lnTo>
                <a:lnTo>
                  <a:pt x="173735" y="244856"/>
                </a:lnTo>
                <a:lnTo>
                  <a:pt x="180975" y="222631"/>
                </a:lnTo>
                <a:lnTo>
                  <a:pt x="194309" y="208408"/>
                </a:lnTo>
                <a:lnTo>
                  <a:pt x="207518" y="194946"/>
                </a:lnTo>
                <a:lnTo>
                  <a:pt x="219837" y="180595"/>
                </a:lnTo>
                <a:lnTo>
                  <a:pt x="229869" y="163068"/>
                </a:lnTo>
                <a:lnTo>
                  <a:pt x="241045" y="126492"/>
                </a:lnTo>
                <a:lnTo>
                  <a:pt x="241554" y="88900"/>
                </a:lnTo>
                <a:close/>
                <a:moveTo>
                  <a:pt x="-2609088" y="3857625"/>
                </a:moveTo>
              </a:path>
            </a:pathLst>
          </a:custGeom>
          <a:solidFill>
            <a:srgbClr val="3660A1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07" name="Freeform 807"/>
          <p:cNvSpPr/>
          <p:nvPr/>
        </p:nvSpPr>
        <p:spPr>
          <a:xfrm>
            <a:off x="11039475" y="5981700"/>
            <a:ext cx="246126" cy="351994"/>
          </a:xfrm>
          <a:custGeom>
            <a:avLst/>
            <a:gdLst/>
            <a:ahLst/>
            <a:cxnLst/>
            <a:rect l="0" t="0" r="0" b="0"/>
            <a:pathLst>
              <a:path w="246126" h="351994">
                <a:moveTo>
                  <a:pt x="246126" y="202070"/>
                </a:moveTo>
                <a:lnTo>
                  <a:pt x="242189" y="152578"/>
                </a:lnTo>
                <a:lnTo>
                  <a:pt x="225552" y="108979"/>
                </a:lnTo>
                <a:lnTo>
                  <a:pt x="209550" y="86742"/>
                </a:lnTo>
                <a:lnTo>
                  <a:pt x="209550" y="187541"/>
                </a:lnTo>
                <a:lnTo>
                  <a:pt x="207898" y="221628"/>
                </a:lnTo>
                <a:lnTo>
                  <a:pt x="179323" y="280556"/>
                </a:lnTo>
                <a:lnTo>
                  <a:pt x="148208" y="306744"/>
                </a:lnTo>
                <a:lnTo>
                  <a:pt x="96519" y="313449"/>
                </a:lnTo>
                <a:lnTo>
                  <a:pt x="66420" y="300394"/>
                </a:lnTo>
                <a:lnTo>
                  <a:pt x="46481" y="274524"/>
                </a:lnTo>
                <a:lnTo>
                  <a:pt x="39878" y="238418"/>
                </a:lnTo>
                <a:lnTo>
                  <a:pt x="42798" y="220244"/>
                </a:lnTo>
                <a:lnTo>
                  <a:pt x="72008" y="174448"/>
                </a:lnTo>
                <a:lnTo>
                  <a:pt x="92709" y="157188"/>
                </a:lnTo>
                <a:lnTo>
                  <a:pt x="102361" y="148082"/>
                </a:lnTo>
                <a:lnTo>
                  <a:pt x="110235" y="136640"/>
                </a:lnTo>
                <a:lnTo>
                  <a:pt x="115823" y="118619"/>
                </a:lnTo>
                <a:lnTo>
                  <a:pt x="116331" y="98133"/>
                </a:lnTo>
                <a:lnTo>
                  <a:pt x="113030" y="76556"/>
                </a:lnTo>
                <a:lnTo>
                  <a:pt x="107188" y="55245"/>
                </a:lnTo>
                <a:lnTo>
                  <a:pt x="146050" y="76734"/>
                </a:lnTo>
                <a:lnTo>
                  <a:pt x="177672" y="107214"/>
                </a:lnTo>
                <a:lnTo>
                  <a:pt x="199517" y="144793"/>
                </a:lnTo>
                <a:lnTo>
                  <a:pt x="209550" y="187541"/>
                </a:lnTo>
                <a:lnTo>
                  <a:pt x="209550" y="86742"/>
                </a:lnTo>
                <a:lnTo>
                  <a:pt x="198628" y="71603"/>
                </a:lnTo>
                <a:lnTo>
                  <a:pt x="179958" y="55245"/>
                </a:lnTo>
                <a:lnTo>
                  <a:pt x="163448" y="40767"/>
                </a:lnTo>
                <a:lnTo>
                  <a:pt x="121919" y="16790"/>
                </a:lnTo>
                <a:lnTo>
                  <a:pt x="76454" y="0"/>
                </a:lnTo>
                <a:lnTo>
                  <a:pt x="64134" y="254"/>
                </a:lnTo>
                <a:lnTo>
                  <a:pt x="54356" y="6363"/>
                </a:lnTo>
                <a:lnTo>
                  <a:pt x="48768" y="16561"/>
                </a:lnTo>
                <a:lnTo>
                  <a:pt x="48641" y="29071"/>
                </a:lnTo>
                <a:lnTo>
                  <a:pt x="56006" y="52934"/>
                </a:lnTo>
                <a:lnTo>
                  <a:pt x="65151" y="80315"/>
                </a:lnTo>
                <a:lnTo>
                  <a:pt x="69215" y="107176"/>
                </a:lnTo>
                <a:lnTo>
                  <a:pt x="61848" y="129375"/>
                </a:lnTo>
                <a:lnTo>
                  <a:pt x="48259" y="144209"/>
                </a:lnTo>
                <a:lnTo>
                  <a:pt x="34797" y="157544"/>
                </a:lnTo>
                <a:lnTo>
                  <a:pt x="22352" y="171705"/>
                </a:lnTo>
                <a:lnTo>
                  <a:pt x="12065" y="188989"/>
                </a:lnTo>
                <a:lnTo>
                  <a:pt x="634" y="225718"/>
                </a:lnTo>
                <a:lnTo>
                  <a:pt x="0" y="263665"/>
                </a:lnTo>
                <a:lnTo>
                  <a:pt x="10794" y="299174"/>
                </a:lnTo>
                <a:lnTo>
                  <a:pt x="34035" y="328549"/>
                </a:lnTo>
                <a:lnTo>
                  <a:pt x="65531" y="346202"/>
                </a:lnTo>
                <a:lnTo>
                  <a:pt x="100965" y="351994"/>
                </a:lnTo>
                <a:lnTo>
                  <a:pt x="136906" y="347155"/>
                </a:lnTo>
                <a:lnTo>
                  <a:pt x="186563" y="320968"/>
                </a:lnTo>
                <a:lnTo>
                  <a:pt x="212979" y="291618"/>
                </a:lnTo>
                <a:lnTo>
                  <a:pt x="238886" y="240602"/>
                </a:lnTo>
                <a:lnTo>
                  <a:pt x="243840" y="221603"/>
                </a:lnTo>
                <a:lnTo>
                  <a:pt x="246126" y="202070"/>
                </a:lnTo>
                <a:close/>
                <a:moveTo>
                  <a:pt x="-10365245" y="876300"/>
                </a:moveTo>
              </a:path>
            </a:pathLst>
          </a:custGeom>
          <a:solidFill>
            <a:srgbClr val="3660A1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08" name="Freeform 808"/>
          <p:cNvSpPr/>
          <p:nvPr/>
        </p:nvSpPr>
        <p:spPr>
          <a:xfrm>
            <a:off x="11315192" y="5981700"/>
            <a:ext cx="247776" cy="351994"/>
          </a:xfrm>
          <a:custGeom>
            <a:avLst/>
            <a:gdLst/>
            <a:ahLst/>
            <a:cxnLst/>
            <a:rect l="0" t="0" r="0" b="0"/>
            <a:pathLst>
              <a:path w="247776" h="351994">
                <a:moveTo>
                  <a:pt x="247776" y="202070"/>
                </a:moveTo>
                <a:lnTo>
                  <a:pt x="243713" y="152578"/>
                </a:lnTo>
                <a:lnTo>
                  <a:pt x="227076" y="108979"/>
                </a:lnTo>
                <a:lnTo>
                  <a:pt x="211074" y="86932"/>
                </a:lnTo>
                <a:lnTo>
                  <a:pt x="211074" y="187541"/>
                </a:lnTo>
                <a:lnTo>
                  <a:pt x="208661" y="221628"/>
                </a:lnTo>
                <a:lnTo>
                  <a:pt x="180339" y="280556"/>
                </a:lnTo>
                <a:lnTo>
                  <a:pt x="149225" y="306744"/>
                </a:lnTo>
                <a:lnTo>
                  <a:pt x="96392" y="313449"/>
                </a:lnTo>
                <a:lnTo>
                  <a:pt x="66293" y="300394"/>
                </a:lnTo>
                <a:lnTo>
                  <a:pt x="46354" y="274524"/>
                </a:lnTo>
                <a:lnTo>
                  <a:pt x="40259" y="238418"/>
                </a:lnTo>
                <a:lnTo>
                  <a:pt x="43179" y="220244"/>
                </a:lnTo>
                <a:lnTo>
                  <a:pt x="71247" y="174448"/>
                </a:lnTo>
                <a:lnTo>
                  <a:pt x="93217" y="157188"/>
                </a:lnTo>
                <a:lnTo>
                  <a:pt x="102997" y="148082"/>
                </a:lnTo>
                <a:lnTo>
                  <a:pt x="110871" y="136640"/>
                </a:lnTo>
                <a:lnTo>
                  <a:pt x="116713" y="118619"/>
                </a:lnTo>
                <a:lnTo>
                  <a:pt x="117221" y="98133"/>
                </a:lnTo>
                <a:lnTo>
                  <a:pt x="113791" y="76556"/>
                </a:lnTo>
                <a:lnTo>
                  <a:pt x="107950" y="55245"/>
                </a:lnTo>
                <a:lnTo>
                  <a:pt x="147065" y="76734"/>
                </a:lnTo>
                <a:lnTo>
                  <a:pt x="178815" y="107214"/>
                </a:lnTo>
                <a:lnTo>
                  <a:pt x="200914" y="144793"/>
                </a:lnTo>
                <a:lnTo>
                  <a:pt x="211074" y="187541"/>
                </a:lnTo>
                <a:lnTo>
                  <a:pt x="211074" y="86932"/>
                </a:lnTo>
                <a:lnTo>
                  <a:pt x="181101" y="55245"/>
                </a:lnTo>
                <a:lnTo>
                  <a:pt x="122809" y="16790"/>
                </a:lnTo>
                <a:lnTo>
                  <a:pt x="77089" y="0"/>
                </a:lnTo>
                <a:lnTo>
                  <a:pt x="64642" y="254"/>
                </a:lnTo>
                <a:lnTo>
                  <a:pt x="54610" y="6363"/>
                </a:lnTo>
                <a:lnTo>
                  <a:pt x="48514" y="16561"/>
                </a:lnTo>
                <a:lnTo>
                  <a:pt x="47625" y="29071"/>
                </a:lnTo>
                <a:lnTo>
                  <a:pt x="55752" y="52934"/>
                </a:lnTo>
                <a:lnTo>
                  <a:pt x="64897" y="80315"/>
                </a:lnTo>
                <a:lnTo>
                  <a:pt x="69214" y="107176"/>
                </a:lnTo>
                <a:lnTo>
                  <a:pt x="62356" y="129375"/>
                </a:lnTo>
                <a:lnTo>
                  <a:pt x="48767" y="144209"/>
                </a:lnTo>
                <a:lnTo>
                  <a:pt x="34925" y="157544"/>
                </a:lnTo>
                <a:lnTo>
                  <a:pt x="21971" y="171705"/>
                </a:lnTo>
                <a:lnTo>
                  <a:pt x="10794" y="188989"/>
                </a:lnTo>
                <a:lnTo>
                  <a:pt x="126" y="225718"/>
                </a:lnTo>
                <a:lnTo>
                  <a:pt x="0" y="263665"/>
                </a:lnTo>
                <a:lnTo>
                  <a:pt x="11049" y="299174"/>
                </a:lnTo>
                <a:lnTo>
                  <a:pt x="34416" y="328549"/>
                </a:lnTo>
                <a:lnTo>
                  <a:pt x="66039" y="346202"/>
                </a:lnTo>
                <a:lnTo>
                  <a:pt x="101600" y="351994"/>
                </a:lnTo>
                <a:lnTo>
                  <a:pt x="137287" y="347155"/>
                </a:lnTo>
                <a:lnTo>
                  <a:pt x="186563" y="320968"/>
                </a:lnTo>
                <a:lnTo>
                  <a:pt x="214122" y="291618"/>
                </a:lnTo>
                <a:lnTo>
                  <a:pt x="233299" y="258509"/>
                </a:lnTo>
                <a:lnTo>
                  <a:pt x="245364" y="221603"/>
                </a:lnTo>
                <a:lnTo>
                  <a:pt x="247776" y="202070"/>
                </a:lnTo>
                <a:close/>
                <a:moveTo>
                  <a:pt x="-10640962" y="876300"/>
                </a:moveTo>
              </a:path>
            </a:pathLst>
          </a:custGeom>
          <a:solidFill>
            <a:srgbClr val="3660A1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09" name="Rectangle 809"/>
          <p:cNvSpPr/>
          <p:nvPr/>
        </p:nvSpPr>
        <p:spPr>
          <a:xfrm>
            <a:off x="11418951" y="6397333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28</a:t>
            </a:r>
          </a:p>
        </p:txBody>
      </p:sp>
      <p:sp>
        <p:nvSpPr>
          <p:cNvPr id="810" name="Rectangle 810"/>
          <p:cNvSpPr/>
          <p:nvPr/>
        </p:nvSpPr>
        <p:spPr>
          <a:xfrm>
            <a:off x="1487805" y="3011869"/>
            <a:ext cx="1191977" cy="30574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1" spc="0" baseline="0" dirty="0">
                <a:solidFill>
                  <a:srgbClr val="7F7F7F"/>
                </a:solidFill>
                <a:latin typeface="Arial"/>
              </a:rPr>
              <a:t>No</a:t>
            </a:r>
            <a:r>
              <a:rPr lang="fr-FR" sz="1802" b="0" i="1" spc="418" baseline="0" dirty="0">
                <a:solidFill>
                  <a:srgbClr val="7F7F7F"/>
                </a:solidFill>
                <a:latin typeface="Arial"/>
              </a:rPr>
              <a:t>,</a:t>
            </a:r>
            <a:r>
              <a:rPr lang="fr-FR" sz="1802" b="0" i="1" spc="0" baseline="0" dirty="0">
                <a:solidFill>
                  <a:srgbClr val="7F7F7F"/>
                </a:solidFill>
                <a:latin typeface="Arial"/>
              </a:rPr>
              <a:t>I'</a:t>
            </a:r>
            <a:r>
              <a:rPr lang="fr-FR" sz="1802" b="0" i="1" spc="457" baseline="0" dirty="0">
                <a:solidFill>
                  <a:srgbClr val="7F7F7F"/>
                </a:solidFill>
                <a:latin typeface="Arial"/>
              </a:rPr>
              <a:t>m</a:t>
            </a:r>
            <a:r>
              <a:rPr lang="fr-FR" sz="1802" b="0" i="1" spc="0" baseline="0" dirty="0">
                <a:solidFill>
                  <a:srgbClr val="7F7F7F"/>
                </a:solidFill>
                <a:latin typeface="Arial"/>
              </a:rPr>
              <a:t>fine!</a:t>
            </a:r>
          </a:p>
        </p:txBody>
      </p:sp>
      <p:sp>
        <p:nvSpPr>
          <p:cNvPr id="811" name="Rectangle 811"/>
          <p:cNvSpPr/>
          <p:nvPr/>
        </p:nvSpPr>
        <p:spPr>
          <a:xfrm>
            <a:off x="6814184" y="4310325"/>
            <a:ext cx="4320337" cy="141222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Yes! I have learnt from [XX] that the office </a:t>
            </a:r>
          </a:p>
          <a:p>
            <a:pPr marL="0">
              <a:lnSpc>
                <a:spcPts val="2178"/>
              </a:lnSpc>
            </a:pP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organize</a:t>
            </a:r>
            <a:r>
              <a:rPr lang="fr-FR" sz="1802" b="0" i="1" spc="542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a</a:t>
            </a:r>
            <a:r>
              <a:rPr lang="fr-FR" sz="1802" b="0" i="1" spc="502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off-sit</a:t>
            </a:r>
            <a:r>
              <a:rPr lang="fr-FR" sz="1802" b="0" i="1" spc="498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wee</a:t>
            </a:r>
            <a:r>
              <a:rPr lang="fr-FR" sz="1802" b="0" i="1" spc="467" baseline="0" dirty="0">
                <a:solidFill>
                  <a:srgbClr val="555555"/>
                </a:solidFill>
                <a:latin typeface="Arial"/>
              </a:rPr>
              <a:t>k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en</a:t>
            </a:r>
            <a:r>
              <a:rPr lang="fr-FR" sz="1802" b="0" i="1" spc="460" baseline="0" dirty="0">
                <a:solidFill>
                  <a:srgbClr val="555555"/>
                </a:solidFill>
                <a:latin typeface="Arial"/>
              </a:rPr>
              <a:t>d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ever</a:t>
            </a:r>
            <a:r>
              <a:rPr lang="fr-FR" sz="1802" b="0" i="1" spc="525" baseline="0" dirty="0">
                <a:solidFill>
                  <a:srgbClr val="555555"/>
                </a:solidFill>
                <a:latin typeface="Arial"/>
              </a:rPr>
              <a:t>y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year. </a:t>
            </a:r>
          </a:p>
          <a:p>
            <a:pPr marL="0">
              <a:lnSpc>
                <a:spcPts val="2176"/>
              </a:lnSpc>
            </a:pP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Ho</a:t>
            </a:r>
            <a:r>
              <a:rPr lang="fr-FR" sz="1802" b="0" i="1" spc="462" baseline="0" dirty="0">
                <a:solidFill>
                  <a:srgbClr val="555555"/>
                </a:solidFill>
                <a:latin typeface="Arial"/>
              </a:rPr>
              <a:t>w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i</a:t>
            </a:r>
            <a:r>
              <a:rPr lang="fr-FR" sz="1802" b="0" i="1" spc="516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th</a:t>
            </a:r>
            <a:r>
              <a:rPr lang="fr-FR" sz="1802" b="0" i="1" spc="491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consultin</a:t>
            </a:r>
            <a:r>
              <a:rPr lang="fr-FR" sz="1802" b="0" i="1" spc="506" baseline="0" dirty="0">
                <a:solidFill>
                  <a:srgbClr val="555555"/>
                </a:solidFill>
                <a:latin typeface="Arial"/>
              </a:rPr>
              <a:t>g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tea</a:t>
            </a:r>
            <a:r>
              <a:rPr lang="fr-FR" sz="1802" b="0" i="1" spc="503" baseline="0" dirty="0">
                <a:solidFill>
                  <a:srgbClr val="555555"/>
                </a:solidFill>
                <a:latin typeface="Arial"/>
              </a:rPr>
              <a:t>m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involve</a:t>
            </a:r>
            <a:r>
              <a:rPr lang="fr-FR" sz="1802" b="0" i="1" spc="530" baseline="0" dirty="0">
                <a:solidFill>
                  <a:srgbClr val="555555"/>
                </a:solidFill>
                <a:latin typeface="Arial"/>
              </a:rPr>
              <a:t>d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i</a:t>
            </a:r>
            <a:r>
              <a:rPr lang="fr-FR" sz="1802" b="0" i="1" spc="504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the </a:t>
            </a:r>
          </a:p>
          <a:p>
            <a:pPr marL="0">
              <a:lnSpc>
                <a:spcPts val="2180"/>
              </a:lnSpc>
            </a:pP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organization</a:t>
            </a:r>
            <a:r>
              <a:rPr lang="fr-FR" sz="1802" b="0" i="1" spc="548" baseline="0" dirty="0">
                <a:solidFill>
                  <a:srgbClr val="555555"/>
                </a:solidFill>
                <a:latin typeface="Arial"/>
              </a:rPr>
              <a:t>?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Hav</a:t>
            </a:r>
            <a:r>
              <a:rPr lang="fr-FR" sz="1802" b="0" i="1" spc="531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yo</a:t>
            </a:r>
            <a:r>
              <a:rPr lang="fr-FR" sz="1802" b="0" i="1" spc="515" baseline="0" dirty="0">
                <a:solidFill>
                  <a:srgbClr val="555555"/>
                </a:solidFill>
                <a:latin typeface="Arial"/>
              </a:rPr>
              <a:t>u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bee</a:t>
            </a:r>
            <a:r>
              <a:rPr lang="fr-FR" sz="1802" b="0" i="1" spc="486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par</a:t>
            </a:r>
            <a:r>
              <a:rPr lang="fr-FR" sz="1802" b="0" i="1" spc="532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of </a:t>
            </a:r>
          </a:p>
          <a:p>
            <a:pPr marL="0">
              <a:lnSpc>
                <a:spcPts val="2177"/>
              </a:lnSpc>
            </a:pP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organizatio</a:t>
            </a:r>
            <a:r>
              <a:rPr lang="fr-FR" sz="1802" b="0" i="1" spc="531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tea</a:t>
            </a:r>
            <a:r>
              <a:rPr lang="fr-FR" sz="1802" b="0" i="1" spc="505" baseline="0" dirty="0">
                <a:solidFill>
                  <a:srgbClr val="555555"/>
                </a:solidFill>
                <a:latin typeface="Arial"/>
              </a:rPr>
              <a:t>m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of an</a:t>
            </a:r>
            <a:r>
              <a:rPr lang="fr-FR" sz="1802" b="0" i="1" spc="458" baseline="0" dirty="0">
                <a:solidFill>
                  <a:srgbClr val="555555"/>
                </a:solidFill>
                <a:latin typeface="Arial"/>
              </a:rPr>
              <a:t>y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relate</a:t>
            </a:r>
            <a:r>
              <a:rPr lang="fr-FR" sz="1802" b="0" i="1" spc="473" baseline="0" dirty="0">
                <a:solidFill>
                  <a:srgbClr val="555555"/>
                </a:solidFill>
                <a:latin typeface="Arial"/>
              </a:rPr>
              <a:t>d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event?</a:t>
            </a:r>
          </a:p>
        </p:txBody>
      </p:sp>
      <p:sp>
        <p:nvSpPr>
          <p:cNvPr id="812" name="Rectangle 812"/>
          <p:cNvSpPr/>
          <p:nvPr/>
        </p:nvSpPr>
        <p:spPr>
          <a:xfrm>
            <a:off x="1465833" y="3914839"/>
            <a:ext cx="3305384" cy="58222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1" spc="0" baseline="0" dirty="0">
                <a:solidFill>
                  <a:srgbClr val="7F7F7F"/>
                </a:solidFill>
                <a:latin typeface="Arial"/>
              </a:rPr>
              <a:t>Yes, what is the timing / process </a:t>
            </a:r>
          </a:p>
          <a:p>
            <a:pPr marL="0">
              <a:lnSpc>
                <a:spcPts val="2177"/>
              </a:lnSpc>
            </a:pPr>
            <a:r>
              <a:rPr lang="fr-FR" sz="1802" b="0" i="1" spc="0" baseline="0" dirty="0">
                <a:solidFill>
                  <a:srgbClr val="7F7F7F"/>
                </a:solidFill>
                <a:latin typeface="Arial"/>
              </a:rPr>
              <a:t>to becom</a:t>
            </a:r>
            <a:r>
              <a:rPr lang="fr-FR" sz="1802" b="0" i="1" spc="531" baseline="0" dirty="0">
                <a:solidFill>
                  <a:srgbClr val="7F7F7F"/>
                </a:solidFill>
                <a:latin typeface="Arial"/>
              </a:rPr>
              <a:t>e</a:t>
            </a:r>
            <a:r>
              <a:rPr lang="fr-FR" sz="1802" b="0" i="1" spc="0" baseline="0" dirty="0">
                <a:solidFill>
                  <a:srgbClr val="7F7F7F"/>
                </a:solidFill>
                <a:latin typeface="Arial"/>
              </a:rPr>
              <a:t>a senio</a:t>
            </a:r>
            <a:r>
              <a:rPr lang="fr-FR" sz="1802" b="0" i="1" spc="493" baseline="0" dirty="0">
                <a:solidFill>
                  <a:srgbClr val="7F7F7F"/>
                </a:solidFill>
                <a:latin typeface="Arial"/>
              </a:rPr>
              <a:t>r</a:t>
            </a:r>
            <a:r>
              <a:rPr lang="fr-FR" sz="1802" b="0" i="1" spc="0" baseline="0" dirty="0">
                <a:solidFill>
                  <a:srgbClr val="7F7F7F"/>
                </a:solidFill>
                <a:latin typeface="Arial"/>
              </a:rPr>
              <a:t>consultant?</a:t>
            </a:r>
          </a:p>
        </p:txBody>
      </p:sp>
      <p:sp>
        <p:nvSpPr>
          <p:cNvPr id="813" name="Rectangle 813"/>
          <p:cNvSpPr/>
          <p:nvPr/>
        </p:nvSpPr>
        <p:spPr>
          <a:xfrm>
            <a:off x="1465833" y="4928172"/>
            <a:ext cx="2723782" cy="58234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1" spc="0" baseline="0" dirty="0">
                <a:solidFill>
                  <a:srgbClr val="7F7F7F"/>
                </a:solidFill>
                <a:latin typeface="Arial"/>
              </a:rPr>
              <a:t>Yes, do you think I did well </a:t>
            </a:r>
          </a:p>
          <a:p>
            <a:pPr marL="0">
              <a:lnSpc>
                <a:spcPts val="2178"/>
              </a:lnSpc>
            </a:pPr>
            <a:r>
              <a:rPr lang="fr-FR" sz="1802" b="0" i="1" spc="0" baseline="0" dirty="0">
                <a:solidFill>
                  <a:srgbClr val="7F7F7F"/>
                </a:solidFill>
                <a:latin typeface="Arial"/>
              </a:rPr>
              <a:t>a</a:t>
            </a:r>
            <a:r>
              <a:rPr lang="fr-FR" sz="1802" b="0" i="1" spc="521" baseline="0" dirty="0">
                <a:solidFill>
                  <a:srgbClr val="7F7F7F"/>
                </a:solidFill>
                <a:latin typeface="Arial"/>
              </a:rPr>
              <a:t>t</a:t>
            </a:r>
            <a:r>
              <a:rPr lang="fr-FR" sz="1802" b="0" i="1" spc="0" baseline="0" dirty="0">
                <a:solidFill>
                  <a:srgbClr val="7F7F7F"/>
                </a:solidFill>
                <a:latin typeface="Arial"/>
              </a:rPr>
              <a:t>my cas</a:t>
            </a:r>
            <a:r>
              <a:rPr lang="fr-FR" sz="1802" b="0" i="1" spc="468" baseline="0" dirty="0">
                <a:solidFill>
                  <a:srgbClr val="7F7F7F"/>
                </a:solidFill>
                <a:latin typeface="Arial"/>
              </a:rPr>
              <a:t>e</a:t>
            </a:r>
            <a:r>
              <a:rPr lang="fr-FR" sz="1802" b="0" i="1" spc="0" baseline="0" dirty="0">
                <a:solidFill>
                  <a:srgbClr val="7F7F7F"/>
                </a:solidFill>
                <a:latin typeface="Arial"/>
              </a:rPr>
              <a:t>cracking?</a:t>
            </a:r>
          </a:p>
        </p:txBody>
      </p:sp>
      <p:sp>
        <p:nvSpPr>
          <p:cNvPr id="814" name="Rectangle 814"/>
          <p:cNvSpPr/>
          <p:nvPr/>
        </p:nvSpPr>
        <p:spPr>
          <a:xfrm>
            <a:off x="6814184" y="3244455"/>
            <a:ext cx="4715504" cy="85920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Yes</a:t>
            </a:r>
            <a:r>
              <a:rPr lang="fr-FR" sz="1802" b="0" i="1" spc="458" baseline="0" dirty="0">
                <a:solidFill>
                  <a:srgbClr val="555555"/>
                </a:solidFill>
                <a:latin typeface="Arial"/>
              </a:rPr>
              <a:t>!</a:t>
            </a:r>
            <a:r>
              <a:rPr lang="fr-FR" sz="1802" b="0" i="1" spc="506" baseline="0" dirty="0">
                <a:solidFill>
                  <a:srgbClr val="555555"/>
                </a:solidFill>
                <a:latin typeface="Arial"/>
              </a:rPr>
              <a:t>I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hav</a:t>
            </a:r>
            <a:r>
              <a:rPr lang="fr-FR" sz="1802" b="0" i="1" spc="531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bee</a:t>
            </a:r>
            <a:r>
              <a:rPr lang="fr-FR" sz="1802" b="0" i="1" spc="462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tol</a:t>
            </a:r>
            <a:r>
              <a:rPr lang="fr-FR" sz="1802" b="0" i="1" spc="513" baseline="0" dirty="0">
                <a:solidFill>
                  <a:srgbClr val="555555"/>
                </a:solidFill>
                <a:latin typeface="Arial"/>
              </a:rPr>
              <a:t>d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tha</a:t>
            </a:r>
            <a:r>
              <a:rPr lang="fr-FR" sz="1802" b="0" i="1" spc="508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[XX</a:t>
            </a:r>
            <a:r>
              <a:rPr lang="fr-FR" sz="1802" b="0" i="1" spc="458" baseline="0" dirty="0">
                <a:solidFill>
                  <a:srgbClr val="555555"/>
                </a:solidFill>
                <a:latin typeface="Arial"/>
              </a:rPr>
              <a:t>]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doe</a:t>
            </a:r>
            <a:r>
              <a:rPr lang="fr-FR" sz="1802" b="0" i="1" spc="486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802" b="0" i="1" spc="495" baseline="0" dirty="0">
                <a:solidFill>
                  <a:srgbClr val="555555"/>
                </a:solidFill>
                <a:latin typeface="Arial"/>
              </a:rPr>
              <a:t>a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lo</a:t>
            </a:r>
            <a:r>
              <a:rPr lang="fr-FR" sz="1802" b="0" i="1" spc="459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of </a:t>
            </a:r>
          </a:p>
          <a:p>
            <a:pPr marL="0">
              <a:lnSpc>
                <a:spcPts val="2180"/>
              </a:lnSpc>
            </a:pP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internationa</a:t>
            </a:r>
            <a:r>
              <a:rPr lang="fr-FR" sz="1802" b="0" i="1" spc="486" baseline="0" dirty="0">
                <a:solidFill>
                  <a:srgbClr val="555555"/>
                </a:solidFill>
                <a:latin typeface="Arial"/>
              </a:rPr>
              <a:t>l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projects</a:t>
            </a:r>
            <a:r>
              <a:rPr lang="fr-FR" sz="1802" b="0" i="1" spc="544" baseline="0" dirty="0">
                <a:solidFill>
                  <a:srgbClr val="555555"/>
                </a:solidFill>
                <a:latin typeface="Arial"/>
              </a:rPr>
              <a:t>.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Have yo</a:t>
            </a:r>
            <a:r>
              <a:rPr lang="fr-FR" sz="1802" b="0" i="1" spc="457" baseline="0" dirty="0">
                <a:solidFill>
                  <a:srgbClr val="555555"/>
                </a:solidFill>
                <a:latin typeface="Arial"/>
              </a:rPr>
              <a:t>u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bee</a:t>
            </a:r>
            <a:r>
              <a:rPr lang="fr-FR" sz="1802" b="0" i="1" spc="481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involved </a:t>
            </a:r>
          </a:p>
          <a:p>
            <a:pPr marL="0">
              <a:lnSpc>
                <a:spcPts val="2178"/>
              </a:lnSpc>
            </a:pP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i</a:t>
            </a:r>
            <a:r>
              <a:rPr lang="fr-FR" sz="1802" b="0" i="1" spc="500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internationa</a:t>
            </a:r>
            <a:r>
              <a:rPr lang="fr-FR" sz="1802" b="0" i="1" spc="495" baseline="0" dirty="0">
                <a:solidFill>
                  <a:srgbClr val="555555"/>
                </a:solidFill>
                <a:latin typeface="Arial"/>
              </a:rPr>
              <a:t>l</a:t>
            </a:r>
            <a:r>
              <a:rPr lang="fr-FR" sz="1802" b="0" i="1" spc="0" baseline="0" dirty="0">
                <a:solidFill>
                  <a:srgbClr val="555555"/>
                </a:solidFill>
                <a:latin typeface="Arial"/>
              </a:rPr>
              <a:t>project</a:t>
            </a:r>
            <a:r>
              <a:rPr lang="fr-FR" sz="1802" b="0" i="1" spc="470" baseline="0" dirty="0">
                <a:solidFill>
                  <a:srgbClr val="555555"/>
                </a:solidFill>
                <a:latin typeface="Arial"/>
              </a:rPr>
              <a:t>s?</a:t>
            </a:r>
          </a:p>
        </p:txBody>
      </p:sp>
      <p:sp>
        <p:nvSpPr>
          <p:cNvPr id="816" name="Rectangle 816"/>
          <p:cNvSpPr/>
          <p:nvPr/>
        </p:nvSpPr>
        <p:spPr>
          <a:xfrm>
            <a:off x="630555" y="459812"/>
            <a:ext cx="6065280" cy="112794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BFBFBF"/>
                </a:solidFill>
                <a:latin typeface="Arial"/>
              </a:rPr>
              <a:t>Ti</a:t>
            </a:r>
            <a:r>
              <a:rPr lang="fr-FR" sz="3604" b="1" i="0" spc="936" baseline="0" dirty="0">
                <a:solidFill>
                  <a:srgbClr val="BFBFBF"/>
                </a:solidFill>
                <a:latin typeface="Arial"/>
              </a:rPr>
              <a:t>p</a:t>
            </a:r>
            <a:r>
              <a:rPr lang="fr-FR" sz="3604" b="1" i="0" spc="0" baseline="0" dirty="0">
                <a:solidFill>
                  <a:srgbClr val="BFBFBF"/>
                </a:solidFill>
                <a:latin typeface="Arial"/>
              </a:rPr>
              <a:t>no.7</a:t>
            </a:r>
          </a:p>
          <a:p>
            <a:pPr marL="0">
              <a:lnSpc>
                <a:spcPts val="4058"/>
              </a:lnSpc>
            </a:pPr>
            <a:r>
              <a:rPr lang="fr-FR" sz="3604" b="1" i="0" spc="0" baseline="0" dirty="0">
                <a:solidFill>
                  <a:srgbClr val="3660A1"/>
                </a:solidFill>
                <a:latin typeface="Arial"/>
              </a:rPr>
              <a:t>Q&amp;</a:t>
            </a:r>
            <a:r>
              <a:rPr lang="fr-FR" sz="3604" b="1" i="0" spc="849" baseline="0" dirty="0">
                <a:solidFill>
                  <a:srgbClr val="3660A1"/>
                </a:solidFill>
                <a:latin typeface="Arial"/>
              </a:rPr>
              <a:t>A</a:t>
            </a:r>
            <a:r>
              <a:rPr lang="fr-FR" sz="3604" b="0" i="0" spc="770" baseline="0" dirty="0">
                <a:solidFill>
                  <a:srgbClr val="3660A1"/>
                </a:solidFill>
                <a:latin typeface="Arial"/>
              </a:rPr>
              <a:t>–</a:t>
            </a:r>
            <a:r>
              <a:rPr lang="fr-FR" sz="3604" b="0" i="0" spc="0" baseline="0" dirty="0">
                <a:solidFill>
                  <a:srgbClr val="3660A1"/>
                </a:solidFill>
                <a:latin typeface="Arial"/>
              </a:rPr>
              <a:t>As</a:t>
            </a:r>
            <a:r>
              <a:rPr lang="fr-FR" sz="3604" b="0" i="0" spc="977" baseline="0" dirty="0">
                <a:solidFill>
                  <a:srgbClr val="3660A1"/>
                </a:solidFill>
                <a:latin typeface="Arial"/>
              </a:rPr>
              <a:t>k</a:t>
            </a:r>
            <a:r>
              <a:rPr lang="fr-FR" sz="3604" b="0" i="0" spc="0" baseline="0" dirty="0">
                <a:solidFill>
                  <a:srgbClr val="3660A1"/>
                </a:solidFill>
                <a:latin typeface="Arial"/>
              </a:rPr>
              <a:t>relevan</a:t>
            </a:r>
            <a:r>
              <a:rPr lang="fr-FR" sz="3604" b="0" i="0" spc="1006" baseline="0" dirty="0">
                <a:solidFill>
                  <a:srgbClr val="3660A1"/>
                </a:solidFill>
                <a:latin typeface="Arial"/>
              </a:rPr>
              <a:t>t</a:t>
            </a:r>
            <a:r>
              <a:rPr lang="fr-FR" sz="3604" b="0" i="0" spc="0" baseline="0" dirty="0">
                <a:solidFill>
                  <a:srgbClr val="3660A1"/>
                </a:solidFill>
                <a:latin typeface="Arial"/>
              </a:rPr>
              <a:t>questions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7" name="Freeform 817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818" name="Picture 818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820025" y="0"/>
            <a:ext cx="4371975" cy="6858000"/>
          </a:xfrm>
          <a:prstGeom prst="rect">
            <a:avLst/>
          </a:prstGeom>
          <a:noFill/>
        </p:spPr>
      </p:pic>
      <p:sp>
        <p:nvSpPr>
          <p:cNvPr id="819" name="Freeform 819"/>
          <p:cNvSpPr/>
          <p:nvPr/>
        </p:nvSpPr>
        <p:spPr>
          <a:xfrm>
            <a:off x="9353550" y="2047875"/>
            <a:ext cx="1478915" cy="1066673"/>
          </a:xfrm>
          <a:custGeom>
            <a:avLst/>
            <a:gdLst/>
            <a:ahLst/>
            <a:cxnLst/>
            <a:rect l="0" t="0" r="0" b="0"/>
            <a:pathLst>
              <a:path w="1478915" h="1066673">
                <a:moveTo>
                  <a:pt x="650367" y="0"/>
                </a:moveTo>
                <a:lnTo>
                  <a:pt x="548513" y="1271"/>
                </a:lnTo>
                <a:lnTo>
                  <a:pt x="468756" y="4191"/>
                </a:lnTo>
                <a:lnTo>
                  <a:pt x="391032" y="8255"/>
                </a:lnTo>
                <a:lnTo>
                  <a:pt x="339852" y="12192"/>
                </a:lnTo>
                <a:lnTo>
                  <a:pt x="288925" y="17780"/>
                </a:lnTo>
                <a:lnTo>
                  <a:pt x="238506" y="25654"/>
                </a:lnTo>
                <a:lnTo>
                  <a:pt x="188721" y="36322"/>
                </a:lnTo>
                <a:lnTo>
                  <a:pt x="139700" y="51943"/>
                </a:lnTo>
                <a:lnTo>
                  <a:pt x="96139" y="75311"/>
                </a:lnTo>
                <a:lnTo>
                  <a:pt x="59943" y="108331"/>
                </a:lnTo>
                <a:lnTo>
                  <a:pt x="32893" y="153035"/>
                </a:lnTo>
                <a:lnTo>
                  <a:pt x="16891" y="202692"/>
                </a:lnTo>
                <a:lnTo>
                  <a:pt x="7111" y="254762"/>
                </a:lnTo>
                <a:lnTo>
                  <a:pt x="2158" y="307848"/>
                </a:lnTo>
                <a:lnTo>
                  <a:pt x="254" y="361316"/>
                </a:lnTo>
                <a:lnTo>
                  <a:pt x="0" y="414021"/>
                </a:lnTo>
                <a:lnTo>
                  <a:pt x="1269" y="462027"/>
                </a:lnTo>
                <a:lnTo>
                  <a:pt x="3809" y="510160"/>
                </a:lnTo>
                <a:lnTo>
                  <a:pt x="7619" y="558420"/>
                </a:lnTo>
                <a:lnTo>
                  <a:pt x="12318" y="606679"/>
                </a:lnTo>
                <a:lnTo>
                  <a:pt x="17780" y="655321"/>
                </a:lnTo>
                <a:lnTo>
                  <a:pt x="23748" y="702818"/>
                </a:lnTo>
                <a:lnTo>
                  <a:pt x="29718" y="740665"/>
                </a:lnTo>
                <a:lnTo>
                  <a:pt x="41147" y="777114"/>
                </a:lnTo>
                <a:lnTo>
                  <a:pt x="91947" y="827405"/>
                </a:lnTo>
                <a:lnTo>
                  <a:pt x="161925" y="848234"/>
                </a:lnTo>
                <a:lnTo>
                  <a:pt x="135890" y="887096"/>
                </a:lnTo>
                <a:lnTo>
                  <a:pt x="108077" y="923798"/>
                </a:lnTo>
                <a:lnTo>
                  <a:pt x="77978" y="958850"/>
                </a:lnTo>
                <a:lnTo>
                  <a:pt x="46101" y="992505"/>
                </a:lnTo>
                <a:lnTo>
                  <a:pt x="12318" y="1024636"/>
                </a:lnTo>
                <a:lnTo>
                  <a:pt x="6857" y="1034416"/>
                </a:lnTo>
                <a:lnTo>
                  <a:pt x="7111" y="1045972"/>
                </a:lnTo>
                <a:lnTo>
                  <a:pt x="12572" y="1056133"/>
                </a:lnTo>
                <a:lnTo>
                  <a:pt x="22606" y="1061721"/>
                </a:lnTo>
                <a:lnTo>
                  <a:pt x="72517" y="1066673"/>
                </a:lnTo>
                <a:lnTo>
                  <a:pt x="122301" y="1064641"/>
                </a:lnTo>
                <a:lnTo>
                  <a:pt x="171322" y="1055752"/>
                </a:lnTo>
                <a:lnTo>
                  <a:pt x="218693" y="1040385"/>
                </a:lnTo>
                <a:lnTo>
                  <a:pt x="251079" y="1024636"/>
                </a:lnTo>
                <a:lnTo>
                  <a:pt x="79375" y="1024636"/>
                </a:lnTo>
                <a:lnTo>
                  <a:pt x="101345" y="1001777"/>
                </a:lnTo>
                <a:lnTo>
                  <a:pt x="135508" y="963930"/>
                </a:lnTo>
                <a:lnTo>
                  <a:pt x="172719" y="918591"/>
                </a:lnTo>
                <a:lnTo>
                  <a:pt x="203581" y="872872"/>
                </a:lnTo>
                <a:lnTo>
                  <a:pt x="219202" y="834264"/>
                </a:lnTo>
                <a:lnTo>
                  <a:pt x="210311" y="810134"/>
                </a:lnTo>
                <a:lnTo>
                  <a:pt x="203961" y="807593"/>
                </a:lnTo>
                <a:lnTo>
                  <a:pt x="197231" y="805816"/>
                </a:lnTo>
                <a:lnTo>
                  <a:pt x="190372" y="804672"/>
                </a:lnTo>
                <a:lnTo>
                  <a:pt x="162559" y="801371"/>
                </a:lnTo>
                <a:lnTo>
                  <a:pt x="141985" y="797434"/>
                </a:lnTo>
                <a:lnTo>
                  <a:pt x="105156" y="780161"/>
                </a:lnTo>
                <a:lnTo>
                  <a:pt x="78105" y="736854"/>
                </a:lnTo>
                <a:lnTo>
                  <a:pt x="68071" y="684149"/>
                </a:lnTo>
                <a:lnTo>
                  <a:pt x="61468" y="632715"/>
                </a:lnTo>
                <a:lnTo>
                  <a:pt x="55371" y="581153"/>
                </a:lnTo>
                <a:lnTo>
                  <a:pt x="50292" y="529464"/>
                </a:lnTo>
                <a:lnTo>
                  <a:pt x="46481" y="477902"/>
                </a:lnTo>
                <a:lnTo>
                  <a:pt x="44322" y="426340"/>
                </a:lnTo>
                <a:lnTo>
                  <a:pt x="43433" y="382016"/>
                </a:lnTo>
                <a:lnTo>
                  <a:pt x="43560" y="361316"/>
                </a:lnTo>
                <a:lnTo>
                  <a:pt x="48006" y="274066"/>
                </a:lnTo>
                <a:lnTo>
                  <a:pt x="56768" y="224155"/>
                </a:lnTo>
                <a:lnTo>
                  <a:pt x="72263" y="176658"/>
                </a:lnTo>
                <a:lnTo>
                  <a:pt x="96139" y="138811"/>
                </a:lnTo>
                <a:lnTo>
                  <a:pt x="129031" y="112015"/>
                </a:lnTo>
                <a:lnTo>
                  <a:pt x="168275" y="94108"/>
                </a:lnTo>
                <a:lnTo>
                  <a:pt x="211328" y="82931"/>
                </a:lnTo>
                <a:lnTo>
                  <a:pt x="258571" y="74168"/>
                </a:lnTo>
                <a:lnTo>
                  <a:pt x="306069" y="67056"/>
                </a:lnTo>
                <a:lnTo>
                  <a:pt x="353821" y="61468"/>
                </a:lnTo>
                <a:lnTo>
                  <a:pt x="401701" y="57150"/>
                </a:lnTo>
                <a:lnTo>
                  <a:pt x="449706" y="54103"/>
                </a:lnTo>
                <a:lnTo>
                  <a:pt x="497840" y="51943"/>
                </a:lnTo>
                <a:lnTo>
                  <a:pt x="546100" y="50673"/>
                </a:lnTo>
                <a:lnTo>
                  <a:pt x="1478915" y="49911"/>
                </a:lnTo>
                <a:lnTo>
                  <a:pt x="1475993" y="49149"/>
                </a:lnTo>
                <a:lnTo>
                  <a:pt x="1431417" y="44197"/>
                </a:lnTo>
                <a:lnTo>
                  <a:pt x="1387856" y="40514"/>
                </a:lnTo>
                <a:lnTo>
                  <a:pt x="1276477" y="29210"/>
                </a:lnTo>
                <a:lnTo>
                  <a:pt x="1165097" y="19812"/>
                </a:lnTo>
                <a:lnTo>
                  <a:pt x="1058544" y="12320"/>
                </a:lnTo>
                <a:lnTo>
                  <a:pt x="956564" y="6731"/>
                </a:lnTo>
                <a:lnTo>
                  <a:pt x="854582" y="2795"/>
                </a:lnTo>
                <a:lnTo>
                  <a:pt x="752475" y="509"/>
                </a:lnTo>
                <a:lnTo>
                  <a:pt x="650367" y="0"/>
                </a:lnTo>
                <a:close/>
                <a:moveTo>
                  <a:pt x="-4543425" y="4810125"/>
                </a:moveTo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20" name="Freeform 820"/>
          <p:cNvSpPr/>
          <p:nvPr/>
        </p:nvSpPr>
        <p:spPr>
          <a:xfrm>
            <a:off x="9432925" y="2889759"/>
            <a:ext cx="1372743" cy="182752"/>
          </a:xfrm>
          <a:custGeom>
            <a:avLst/>
            <a:gdLst/>
            <a:ahLst/>
            <a:cxnLst/>
            <a:rect l="0" t="0" r="0" b="0"/>
            <a:pathLst>
              <a:path w="1372743" h="182752">
                <a:moveTo>
                  <a:pt x="478535" y="0"/>
                </a:moveTo>
                <a:lnTo>
                  <a:pt x="424942" y="1015"/>
                </a:lnTo>
                <a:lnTo>
                  <a:pt x="371220" y="3301"/>
                </a:lnTo>
                <a:lnTo>
                  <a:pt x="317627" y="7365"/>
                </a:lnTo>
                <a:lnTo>
                  <a:pt x="272033" y="28701"/>
                </a:lnTo>
                <a:lnTo>
                  <a:pt x="251206" y="58038"/>
                </a:lnTo>
                <a:lnTo>
                  <a:pt x="240792" y="72008"/>
                </a:lnTo>
                <a:lnTo>
                  <a:pt x="180340" y="128777"/>
                </a:lnTo>
                <a:lnTo>
                  <a:pt x="138938" y="152907"/>
                </a:lnTo>
                <a:lnTo>
                  <a:pt x="94233" y="170433"/>
                </a:lnTo>
                <a:lnTo>
                  <a:pt x="47625" y="180594"/>
                </a:lnTo>
                <a:lnTo>
                  <a:pt x="0" y="182752"/>
                </a:lnTo>
                <a:lnTo>
                  <a:pt x="171704" y="182752"/>
                </a:lnTo>
                <a:lnTo>
                  <a:pt x="225043" y="149097"/>
                </a:lnTo>
                <a:lnTo>
                  <a:pt x="261619" y="115570"/>
                </a:lnTo>
                <a:lnTo>
                  <a:pt x="292734" y="76581"/>
                </a:lnTo>
                <a:lnTo>
                  <a:pt x="296926" y="70357"/>
                </a:lnTo>
                <a:lnTo>
                  <a:pt x="301497" y="64515"/>
                </a:lnTo>
                <a:lnTo>
                  <a:pt x="306705" y="59308"/>
                </a:lnTo>
                <a:lnTo>
                  <a:pt x="312546" y="54863"/>
                </a:lnTo>
                <a:lnTo>
                  <a:pt x="318643" y="51688"/>
                </a:lnTo>
                <a:lnTo>
                  <a:pt x="326897" y="50672"/>
                </a:lnTo>
                <a:lnTo>
                  <a:pt x="334136" y="50672"/>
                </a:lnTo>
                <a:lnTo>
                  <a:pt x="383285" y="47370"/>
                </a:lnTo>
                <a:lnTo>
                  <a:pt x="432434" y="45212"/>
                </a:lnTo>
                <a:lnTo>
                  <a:pt x="481583" y="43941"/>
                </a:lnTo>
                <a:lnTo>
                  <a:pt x="1217803" y="43561"/>
                </a:lnTo>
                <a:lnTo>
                  <a:pt x="1218818" y="43433"/>
                </a:lnTo>
                <a:lnTo>
                  <a:pt x="1270381" y="36830"/>
                </a:lnTo>
                <a:lnTo>
                  <a:pt x="1321434" y="25907"/>
                </a:lnTo>
                <a:lnTo>
                  <a:pt x="1369314" y="8127"/>
                </a:lnTo>
                <a:lnTo>
                  <a:pt x="1372743" y="5841"/>
                </a:lnTo>
                <a:lnTo>
                  <a:pt x="899921" y="5841"/>
                </a:lnTo>
                <a:lnTo>
                  <a:pt x="798448" y="5207"/>
                </a:lnTo>
                <a:lnTo>
                  <a:pt x="532130" y="126"/>
                </a:lnTo>
                <a:lnTo>
                  <a:pt x="478535" y="0"/>
                </a:lnTo>
                <a:close/>
                <a:moveTo>
                  <a:pt x="-5464684" y="3968241"/>
                </a:moveTo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21" name="Freeform 821"/>
          <p:cNvSpPr/>
          <p:nvPr/>
        </p:nvSpPr>
        <p:spPr>
          <a:xfrm>
            <a:off x="9963657" y="2933320"/>
            <a:ext cx="687071" cy="9905"/>
          </a:xfrm>
          <a:custGeom>
            <a:avLst/>
            <a:gdLst/>
            <a:ahLst/>
            <a:cxnLst/>
            <a:rect l="0" t="0" r="0" b="0"/>
            <a:pathLst>
              <a:path w="687071" h="9905">
                <a:moveTo>
                  <a:pt x="687071" y="0"/>
                </a:moveTo>
                <a:lnTo>
                  <a:pt x="0" y="0"/>
                </a:lnTo>
                <a:lnTo>
                  <a:pt x="49149" y="380"/>
                </a:lnTo>
                <a:lnTo>
                  <a:pt x="98299" y="1142"/>
                </a:lnTo>
                <a:lnTo>
                  <a:pt x="393193" y="9397"/>
                </a:lnTo>
                <a:lnTo>
                  <a:pt x="442341" y="9905"/>
                </a:lnTo>
                <a:lnTo>
                  <a:pt x="491490" y="9778"/>
                </a:lnTo>
                <a:lnTo>
                  <a:pt x="540639" y="8890"/>
                </a:lnTo>
                <a:lnTo>
                  <a:pt x="589788" y="6984"/>
                </a:lnTo>
                <a:lnTo>
                  <a:pt x="638937" y="4064"/>
                </a:lnTo>
                <a:lnTo>
                  <a:pt x="687071" y="0"/>
                </a:lnTo>
                <a:close/>
                <a:moveTo>
                  <a:pt x="-6038977" y="3924680"/>
                </a:moveTo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22" name="Freeform 822"/>
          <p:cNvSpPr/>
          <p:nvPr/>
        </p:nvSpPr>
        <p:spPr>
          <a:xfrm>
            <a:off x="9995916" y="2097786"/>
            <a:ext cx="976756" cy="797814"/>
          </a:xfrm>
          <a:custGeom>
            <a:avLst/>
            <a:gdLst/>
            <a:ahLst/>
            <a:cxnLst/>
            <a:rect l="0" t="0" r="0" b="0"/>
            <a:pathLst>
              <a:path w="976756" h="797814">
                <a:moveTo>
                  <a:pt x="836549" y="0"/>
                </a:moveTo>
                <a:lnTo>
                  <a:pt x="0" y="0"/>
                </a:lnTo>
                <a:lnTo>
                  <a:pt x="103124" y="762"/>
                </a:lnTo>
                <a:lnTo>
                  <a:pt x="206248" y="3430"/>
                </a:lnTo>
                <a:lnTo>
                  <a:pt x="309244" y="7748"/>
                </a:lnTo>
                <a:lnTo>
                  <a:pt x="412115" y="13717"/>
                </a:lnTo>
                <a:lnTo>
                  <a:pt x="514985" y="21463"/>
                </a:lnTo>
                <a:lnTo>
                  <a:pt x="617601" y="30861"/>
                </a:lnTo>
                <a:lnTo>
                  <a:pt x="720216" y="41911"/>
                </a:lnTo>
                <a:lnTo>
                  <a:pt x="822832" y="54611"/>
                </a:lnTo>
                <a:lnTo>
                  <a:pt x="866013" y="65024"/>
                </a:lnTo>
                <a:lnTo>
                  <a:pt x="902207" y="104268"/>
                </a:lnTo>
                <a:lnTo>
                  <a:pt x="913511" y="143256"/>
                </a:lnTo>
                <a:lnTo>
                  <a:pt x="918590" y="186691"/>
                </a:lnTo>
                <a:lnTo>
                  <a:pt x="920368" y="229998"/>
                </a:lnTo>
                <a:lnTo>
                  <a:pt x="920115" y="273305"/>
                </a:lnTo>
                <a:lnTo>
                  <a:pt x="918717" y="316611"/>
                </a:lnTo>
                <a:lnTo>
                  <a:pt x="917575" y="324867"/>
                </a:lnTo>
                <a:lnTo>
                  <a:pt x="917575" y="332105"/>
                </a:lnTo>
                <a:lnTo>
                  <a:pt x="916559" y="340361"/>
                </a:lnTo>
                <a:lnTo>
                  <a:pt x="913638" y="394081"/>
                </a:lnTo>
                <a:lnTo>
                  <a:pt x="908939" y="447422"/>
                </a:lnTo>
                <a:lnTo>
                  <a:pt x="902335" y="500507"/>
                </a:lnTo>
                <a:lnTo>
                  <a:pt x="892937" y="553212"/>
                </a:lnTo>
                <a:lnTo>
                  <a:pt x="880490" y="605410"/>
                </a:lnTo>
                <a:lnTo>
                  <a:pt x="867917" y="644780"/>
                </a:lnTo>
                <a:lnTo>
                  <a:pt x="851027" y="682372"/>
                </a:lnTo>
                <a:lnTo>
                  <a:pt x="828548" y="716407"/>
                </a:lnTo>
                <a:lnTo>
                  <a:pt x="799084" y="744729"/>
                </a:lnTo>
                <a:lnTo>
                  <a:pt x="763397" y="764794"/>
                </a:lnTo>
                <a:lnTo>
                  <a:pt x="724153" y="777241"/>
                </a:lnTo>
                <a:lnTo>
                  <a:pt x="682878" y="784225"/>
                </a:lnTo>
                <a:lnTo>
                  <a:pt x="641350" y="788036"/>
                </a:lnTo>
                <a:lnTo>
                  <a:pt x="590550" y="791211"/>
                </a:lnTo>
                <a:lnTo>
                  <a:pt x="539750" y="793624"/>
                </a:lnTo>
                <a:lnTo>
                  <a:pt x="489077" y="795401"/>
                </a:lnTo>
                <a:lnTo>
                  <a:pt x="438277" y="796799"/>
                </a:lnTo>
                <a:lnTo>
                  <a:pt x="336930" y="797814"/>
                </a:lnTo>
                <a:lnTo>
                  <a:pt x="809752" y="797814"/>
                </a:lnTo>
                <a:lnTo>
                  <a:pt x="848614" y="772542"/>
                </a:lnTo>
                <a:lnTo>
                  <a:pt x="880872" y="736855"/>
                </a:lnTo>
                <a:lnTo>
                  <a:pt x="904620" y="694691"/>
                </a:lnTo>
                <a:lnTo>
                  <a:pt x="922147" y="648717"/>
                </a:lnTo>
                <a:lnTo>
                  <a:pt x="935227" y="601345"/>
                </a:lnTo>
                <a:lnTo>
                  <a:pt x="947039" y="549022"/>
                </a:lnTo>
                <a:lnTo>
                  <a:pt x="956944" y="496189"/>
                </a:lnTo>
                <a:lnTo>
                  <a:pt x="964945" y="442976"/>
                </a:lnTo>
                <a:lnTo>
                  <a:pt x="970915" y="389636"/>
                </a:lnTo>
                <a:lnTo>
                  <a:pt x="974852" y="336043"/>
                </a:lnTo>
                <a:lnTo>
                  <a:pt x="976756" y="282449"/>
                </a:lnTo>
                <a:lnTo>
                  <a:pt x="976502" y="228981"/>
                </a:lnTo>
                <a:lnTo>
                  <a:pt x="975867" y="219456"/>
                </a:lnTo>
                <a:lnTo>
                  <a:pt x="974978" y="200280"/>
                </a:lnTo>
                <a:lnTo>
                  <a:pt x="971423" y="156845"/>
                </a:lnTo>
                <a:lnTo>
                  <a:pt x="957452" y="91694"/>
                </a:lnTo>
                <a:lnTo>
                  <a:pt x="913765" y="28956"/>
                </a:lnTo>
                <a:lnTo>
                  <a:pt x="876173" y="9399"/>
                </a:lnTo>
                <a:lnTo>
                  <a:pt x="836549" y="0"/>
                </a:lnTo>
                <a:close/>
                <a:moveTo>
                  <a:pt x="-5235702" y="4760214"/>
                </a:moveTo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23" name="Freeform 823"/>
          <p:cNvSpPr/>
          <p:nvPr/>
        </p:nvSpPr>
        <p:spPr>
          <a:xfrm>
            <a:off x="9358376" y="2052702"/>
            <a:ext cx="1618995" cy="1066672"/>
          </a:xfrm>
          <a:custGeom>
            <a:avLst/>
            <a:gdLst/>
            <a:ahLst/>
            <a:cxnLst/>
            <a:rect l="0" t="0" r="0" b="0"/>
            <a:pathLst>
              <a:path w="1618995" h="1066672">
                <a:moveTo>
                  <a:pt x="1618742" y="278764"/>
                </a:moveTo>
                <a:lnTo>
                  <a:pt x="1618233" y="269366"/>
                </a:lnTo>
                <a:lnTo>
                  <a:pt x="1617726" y="259714"/>
                </a:lnTo>
                <a:lnTo>
                  <a:pt x="1617344" y="250063"/>
                </a:lnTo>
                <a:lnTo>
                  <a:pt x="1613789" y="206756"/>
                </a:lnTo>
                <a:lnTo>
                  <a:pt x="1599692" y="141477"/>
                </a:lnTo>
                <a:lnTo>
                  <a:pt x="1556130" y="78866"/>
                </a:lnTo>
                <a:lnTo>
                  <a:pt x="1518539" y="59308"/>
                </a:lnTo>
                <a:lnTo>
                  <a:pt x="1475867" y="49021"/>
                </a:lnTo>
                <a:lnTo>
                  <a:pt x="1431417" y="44195"/>
                </a:lnTo>
                <a:lnTo>
                  <a:pt x="1387729" y="40513"/>
                </a:lnTo>
                <a:lnTo>
                  <a:pt x="1332103" y="34544"/>
                </a:lnTo>
                <a:lnTo>
                  <a:pt x="1276350" y="29083"/>
                </a:lnTo>
                <a:lnTo>
                  <a:pt x="1220724" y="24129"/>
                </a:lnTo>
                <a:lnTo>
                  <a:pt x="1165097" y="19684"/>
                </a:lnTo>
                <a:lnTo>
                  <a:pt x="1109471" y="15747"/>
                </a:lnTo>
                <a:lnTo>
                  <a:pt x="1058544" y="12319"/>
                </a:lnTo>
                <a:lnTo>
                  <a:pt x="1007491" y="9270"/>
                </a:lnTo>
                <a:lnTo>
                  <a:pt x="956564" y="6603"/>
                </a:lnTo>
                <a:lnTo>
                  <a:pt x="905509" y="4445"/>
                </a:lnTo>
                <a:lnTo>
                  <a:pt x="854455" y="2666"/>
                </a:lnTo>
                <a:lnTo>
                  <a:pt x="803402" y="1396"/>
                </a:lnTo>
                <a:lnTo>
                  <a:pt x="752347" y="381"/>
                </a:lnTo>
                <a:lnTo>
                  <a:pt x="701420" y="0"/>
                </a:lnTo>
                <a:lnTo>
                  <a:pt x="650367" y="0"/>
                </a:lnTo>
                <a:lnTo>
                  <a:pt x="599440" y="381"/>
                </a:lnTo>
                <a:lnTo>
                  <a:pt x="548513" y="1270"/>
                </a:lnTo>
                <a:lnTo>
                  <a:pt x="495427" y="3047"/>
                </a:lnTo>
                <a:lnTo>
                  <a:pt x="442341" y="5460"/>
                </a:lnTo>
                <a:lnTo>
                  <a:pt x="391032" y="8254"/>
                </a:lnTo>
                <a:lnTo>
                  <a:pt x="339852" y="12191"/>
                </a:lnTo>
                <a:lnTo>
                  <a:pt x="288925" y="17779"/>
                </a:lnTo>
                <a:lnTo>
                  <a:pt x="238505" y="25527"/>
                </a:lnTo>
                <a:lnTo>
                  <a:pt x="188594" y="36321"/>
                </a:lnTo>
                <a:lnTo>
                  <a:pt x="139700" y="51943"/>
                </a:lnTo>
                <a:lnTo>
                  <a:pt x="96139" y="75310"/>
                </a:lnTo>
                <a:lnTo>
                  <a:pt x="59817" y="108331"/>
                </a:lnTo>
                <a:lnTo>
                  <a:pt x="32892" y="152908"/>
                </a:lnTo>
                <a:lnTo>
                  <a:pt x="16764" y="202691"/>
                </a:lnTo>
                <a:lnTo>
                  <a:pt x="7112" y="254634"/>
                </a:lnTo>
                <a:lnTo>
                  <a:pt x="2031" y="307847"/>
                </a:lnTo>
                <a:lnTo>
                  <a:pt x="254" y="361314"/>
                </a:lnTo>
                <a:lnTo>
                  <a:pt x="0" y="414020"/>
                </a:lnTo>
                <a:lnTo>
                  <a:pt x="1142" y="462026"/>
                </a:lnTo>
                <a:lnTo>
                  <a:pt x="3809" y="510158"/>
                </a:lnTo>
                <a:lnTo>
                  <a:pt x="7492" y="558291"/>
                </a:lnTo>
                <a:lnTo>
                  <a:pt x="12192" y="606552"/>
                </a:lnTo>
                <a:lnTo>
                  <a:pt x="17653" y="654684"/>
                </a:lnTo>
                <a:lnTo>
                  <a:pt x="23749" y="702690"/>
                </a:lnTo>
                <a:lnTo>
                  <a:pt x="29717" y="740664"/>
                </a:lnTo>
                <a:lnTo>
                  <a:pt x="41147" y="776985"/>
                </a:lnTo>
                <a:lnTo>
                  <a:pt x="91820" y="827277"/>
                </a:lnTo>
                <a:lnTo>
                  <a:pt x="161797" y="848233"/>
                </a:lnTo>
                <a:lnTo>
                  <a:pt x="136017" y="886840"/>
                </a:lnTo>
                <a:lnTo>
                  <a:pt x="107950" y="923670"/>
                </a:lnTo>
                <a:lnTo>
                  <a:pt x="77978" y="958850"/>
                </a:lnTo>
                <a:lnTo>
                  <a:pt x="45974" y="992377"/>
                </a:lnTo>
                <a:lnTo>
                  <a:pt x="12318" y="1024635"/>
                </a:lnTo>
                <a:lnTo>
                  <a:pt x="6857" y="1034288"/>
                </a:lnTo>
                <a:lnTo>
                  <a:pt x="6984" y="1045845"/>
                </a:lnTo>
                <a:lnTo>
                  <a:pt x="12445" y="1056004"/>
                </a:lnTo>
                <a:lnTo>
                  <a:pt x="22605" y="1061720"/>
                </a:lnTo>
                <a:lnTo>
                  <a:pt x="72390" y="1066672"/>
                </a:lnTo>
                <a:lnTo>
                  <a:pt x="122301" y="1064514"/>
                </a:lnTo>
                <a:lnTo>
                  <a:pt x="171322" y="1055751"/>
                </a:lnTo>
                <a:lnTo>
                  <a:pt x="218567" y="1040383"/>
                </a:lnTo>
                <a:lnTo>
                  <a:pt x="263270" y="1018666"/>
                </a:lnTo>
                <a:lnTo>
                  <a:pt x="304292" y="990981"/>
                </a:lnTo>
                <a:lnTo>
                  <a:pt x="340867" y="957452"/>
                </a:lnTo>
                <a:lnTo>
                  <a:pt x="372109" y="918337"/>
                </a:lnTo>
                <a:lnTo>
                  <a:pt x="376174" y="912240"/>
                </a:lnTo>
                <a:lnTo>
                  <a:pt x="380872" y="906398"/>
                </a:lnTo>
                <a:lnTo>
                  <a:pt x="385953" y="901064"/>
                </a:lnTo>
                <a:lnTo>
                  <a:pt x="391794" y="896746"/>
                </a:lnTo>
                <a:lnTo>
                  <a:pt x="397891" y="893571"/>
                </a:lnTo>
                <a:lnTo>
                  <a:pt x="406145" y="892556"/>
                </a:lnTo>
                <a:lnTo>
                  <a:pt x="413384" y="892556"/>
                </a:lnTo>
                <a:lnTo>
                  <a:pt x="462533" y="889253"/>
                </a:lnTo>
                <a:lnTo>
                  <a:pt x="511682" y="886968"/>
                </a:lnTo>
                <a:lnTo>
                  <a:pt x="560831" y="885825"/>
                </a:lnTo>
                <a:lnTo>
                  <a:pt x="609980" y="885444"/>
                </a:lnTo>
                <a:lnTo>
                  <a:pt x="659130" y="885697"/>
                </a:lnTo>
                <a:lnTo>
                  <a:pt x="708279" y="886587"/>
                </a:lnTo>
                <a:lnTo>
                  <a:pt x="757428" y="887857"/>
                </a:lnTo>
                <a:lnTo>
                  <a:pt x="806577" y="889253"/>
                </a:lnTo>
                <a:lnTo>
                  <a:pt x="855726" y="890904"/>
                </a:lnTo>
                <a:lnTo>
                  <a:pt x="904875" y="892428"/>
                </a:lnTo>
                <a:lnTo>
                  <a:pt x="954024" y="893826"/>
                </a:lnTo>
                <a:lnTo>
                  <a:pt x="1003172" y="894841"/>
                </a:lnTo>
                <a:lnTo>
                  <a:pt x="1052321" y="895350"/>
                </a:lnTo>
                <a:lnTo>
                  <a:pt x="1101470" y="895222"/>
                </a:lnTo>
                <a:lnTo>
                  <a:pt x="1150619" y="894207"/>
                </a:lnTo>
                <a:lnTo>
                  <a:pt x="1199768" y="892428"/>
                </a:lnTo>
                <a:lnTo>
                  <a:pt x="1248917" y="889508"/>
                </a:lnTo>
                <a:lnTo>
                  <a:pt x="1298193" y="885316"/>
                </a:lnTo>
                <a:lnTo>
                  <a:pt x="1349755" y="878713"/>
                </a:lnTo>
                <a:lnTo>
                  <a:pt x="1400682" y="867790"/>
                </a:lnTo>
                <a:lnTo>
                  <a:pt x="1448562" y="849883"/>
                </a:lnTo>
                <a:lnTo>
                  <a:pt x="1490853" y="822452"/>
                </a:lnTo>
                <a:lnTo>
                  <a:pt x="1523110" y="786638"/>
                </a:lnTo>
                <a:lnTo>
                  <a:pt x="1546987" y="744601"/>
                </a:lnTo>
                <a:lnTo>
                  <a:pt x="1564385" y="698627"/>
                </a:lnTo>
                <a:lnTo>
                  <a:pt x="1577467" y="651256"/>
                </a:lnTo>
                <a:lnTo>
                  <a:pt x="1589278" y="598804"/>
                </a:lnTo>
                <a:lnTo>
                  <a:pt x="1599310" y="545972"/>
                </a:lnTo>
                <a:lnTo>
                  <a:pt x="1607312" y="492759"/>
                </a:lnTo>
                <a:lnTo>
                  <a:pt x="1613280" y="439420"/>
                </a:lnTo>
                <a:lnTo>
                  <a:pt x="1617217" y="385952"/>
                </a:lnTo>
                <a:lnTo>
                  <a:pt x="1618995" y="332358"/>
                </a:lnTo>
                <a:lnTo>
                  <a:pt x="1618742" y="278764"/>
                </a:lnTo>
                <a:close/>
                <a:moveTo>
                  <a:pt x="-4831842" y="4805298"/>
                </a:moveTo>
              </a:path>
            </a:pathLst>
          </a:custGeom>
          <a:noFill/>
          <a:ln w="10667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24" name="Freeform 824"/>
          <p:cNvSpPr/>
          <p:nvPr/>
        </p:nvSpPr>
        <p:spPr>
          <a:xfrm>
            <a:off x="9401682" y="2102485"/>
            <a:ext cx="1519428" cy="974852"/>
          </a:xfrm>
          <a:custGeom>
            <a:avLst/>
            <a:gdLst/>
            <a:ahLst/>
            <a:cxnLst/>
            <a:rect l="0" t="0" r="0" b="0"/>
            <a:pathLst>
              <a:path w="1519428" h="974852">
                <a:moveTo>
                  <a:pt x="1517777" y="316612"/>
                </a:moveTo>
                <a:lnTo>
                  <a:pt x="1516635" y="324994"/>
                </a:lnTo>
                <a:lnTo>
                  <a:pt x="1516635" y="332232"/>
                </a:lnTo>
                <a:lnTo>
                  <a:pt x="1515619" y="340487"/>
                </a:lnTo>
                <a:lnTo>
                  <a:pt x="1512571" y="394081"/>
                </a:lnTo>
                <a:lnTo>
                  <a:pt x="1507999" y="447549"/>
                </a:lnTo>
                <a:lnTo>
                  <a:pt x="1501268" y="500635"/>
                </a:lnTo>
                <a:lnTo>
                  <a:pt x="1491997" y="553339"/>
                </a:lnTo>
                <a:lnTo>
                  <a:pt x="1479550" y="605537"/>
                </a:lnTo>
                <a:lnTo>
                  <a:pt x="1466977" y="644780"/>
                </a:lnTo>
                <a:lnTo>
                  <a:pt x="1450086" y="682499"/>
                </a:lnTo>
                <a:lnTo>
                  <a:pt x="1427481" y="716535"/>
                </a:lnTo>
                <a:lnTo>
                  <a:pt x="1398144" y="744856"/>
                </a:lnTo>
                <a:lnTo>
                  <a:pt x="1362457" y="764921"/>
                </a:lnTo>
                <a:lnTo>
                  <a:pt x="1323086" y="777240"/>
                </a:lnTo>
                <a:lnTo>
                  <a:pt x="1281811" y="784225"/>
                </a:lnTo>
                <a:lnTo>
                  <a:pt x="1240283" y="788162"/>
                </a:lnTo>
                <a:lnTo>
                  <a:pt x="1189483" y="791211"/>
                </a:lnTo>
                <a:lnTo>
                  <a:pt x="1138683" y="793624"/>
                </a:lnTo>
                <a:lnTo>
                  <a:pt x="1088010" y="795529"/>
                </a:lnTo>
                <a:lnTo>
                  <a:pt x="1037336" y="796799"/>
                </a:lnTo>
                <a:lnTo>
                  <a:pt x="986663" y="797561"/>
                </a:lnTo>
                <a:lnTo>
                  <a:pt x="935863" y="797942"/>
                </a:lnTo>
                <a:lnTo>
                  <a:pt x="885190" y="797814"/>
                </a:lnTo>
                <a:lnTo>
                  <a:pt x="834390" y="797306"/>
                </a:lnTo>
                <a:lnTo>
                  <a:pt x="783590" y="796418"/>
                </a:lnTo>
                <a:lnTo>
                  <a:pt x="729488" y="795401"/>
                </a:lnTo>
                <a:lnTo>
                  <a:pt x="675640" y="794131"/>
                </a:lnTo>
                <a:lnTo>
                  <a:pt x="621920" y="792988"/>
                </a:lnTo>
                <a:lnTo>
                  <a:pt x="568199" y="792100"/>
                </a:lnTo>
                <a:lnTo>
                  <a:pt x="514477" y="792100"/>
                </a:lnTo>
                <a:lnTo>
                  <a:pt x="460884" y="792988"/>
                </a:lnTo>
                <a:lnTo>
                  <a:pt x="407289" y="795401"/>
                </a:lnTo>
                <a:lnTo>
                  <a:pt x="353569" y="799465"/>
                </a:lnTo>
                <a:lnTo>
                  <a:pt x="308102" y="820801"/>
                </a:lnTo>
                <a:lnTo>
                  <a:pt x="287274" y="850012"/>
                </a:lnTo>
                <a:lnTo>
                  <a:pt x="276734" y="864108"/>
                </a:lnTo>
                <a:lnTo>
                  <a:pt x="216409" y="920750"/>
                </a:lnTo>
                <a:lnTo>
                  <a:pt x="174879" y="945007"/>
                </a:lnTo>
                <a:lnTo>
                  <a:pt x="130302" y="962406"/>
                </a:lnTo>
                <a:lnTo>
                  <a:pt x="83566" y="972567"/>
                </a:lnTo>
                <a:lnTo>
                  <a:pt x="35941" y="974852"/>
                </a:lnTo>
                <a:lnTo>
                  <a:pt x="58039" y="951993"/>
                </a:lnTo>
                <a:lnTo>
                  <a:pt x="92202" y="914146"/>
                </a:lnTo>
                <a:lnTo>
                  <a:pt x="129286" y="868681"/>
                </a:lnTo>
                <a:lnTo>
                  <a:pt x="160274" y="822961"/>
                </a:lnTo>
                <a:lnTo>
                  <a:pt x="175896" y="784352"/>
                </a:lnTo>
                <a:lnTo>
                  <a:pt x="166878" y="760350"/>
                </a:lnTo>
                <a:lnTo>
                  <a:pt x="160528" y="757682"/>
                </a:lnTo>
                <a:lnTo>
                  <a:pt x="153924" y="756031"/>
                </a:lnTo>
                <a:lnTo>
                  <a:pt x="147066" y="754888"/>
                </a:lnTo>
                <a:lnTo>
                  <a:pt x="140082" y="754126"/>
                </a:lnTo>
                <a:lnTo>
                  <a:pt x="119253" y="751587"/>
                </a:lnTo>
                <a:lnTo>
                  <a:pt x="79249" y="741045"/>
                </a:lnTo>
                <a:lnTo>
                  <a:pt x="45212" y="710693"/>
                </a:lnTo>
                <a:lnTo>
                  <a:pt x="28449" y="660908"/>
                </a:lnTo>
                <a:lnTo>
                  <a:pt x="18035" y="582931"/>
                </a:lnTo>
                <a:lnTo>
                  <a:pt x="12065" y="531369"/>
                </a:lnTo>
                <a:lnTo>
                  <a:pt x="6986" y="479680"/>
                </a:lnTo>
                <a:lnTo>
                  <a:pt x="3175" y="427990"/>
                </a:lnTo>
                <a:lnTo>
                  <a:pt x="1016" y="376556"/>
                </a:lnTo>
                <a:lnTo>
                  <a:pt x="0" y="326644"/>
                </a:lnTo>
                <a:lnTo>
                  <a:pt x="636" y="275463"/>
                </a:lnTo>
                <a:lnTo>
                  <a:pt x="4573" y="224282"/>
                </a:lnTo>
                <a:lnTo>
                  <a:pt x="13462" y="174244"/>
                </a:lnTo>
                <a:lnTo>
                  <a:pt x="28829" y="126874"/>
                </a:lnTo>
                <a:lnTo>
                  <a:pt x="52706" y="89027"/>
                </a:lnTo>
                <a:lnTo>
                  <a:pt x="85599" y="62104"/>
                </a:lnTo>
                <a:lnTo>
                  <a:pt x="124841" y="44196"/>
                </a:lnTo>
                <a:lnTo>
                  <a:pt x="167895" y="33020"/>
                </a:lnTo>
                <a:lnTo>
                  <a:pt x="215138" y="24257"/>
                </a:lnTo>
                <a:lnTo>
                  <a:pt x="262636" y="17145"/>
                </a:lnTo>
                <a:lnTo>
                  <a:pt x="310388" y="11557"/>
                </a:lnTo>
                <a:lnTo>
                  <a:pt x="358268" y="7367"/>
                </a:lnTo>
                <a:lnTo>
                  <a:pt x="406400" y="4192"/>
                </a:lnTo>
                <a:lnTo>
                  <a:pt x="454534" y="2160"/>
                </a:lnTo>
                <a:lnTo>
                  <a:pt x="502666" y="889"/>
                </a:lnTo>
                <a:lnTo>
                  <a:pt x="550799" y="127"/>
                </a:lnTo>
                <a:lnTo>
                  <a:pt x="598933" y="0"/>
                </a:lnTo>
                <a:lnTo>
                  <a:pt x="650622" y="255"/>
                </a:lnTo>
                <a:lnTo>
                  <a:pt x="702184" y="889"/>
                </a:lnTo>
                <a:lnTo>
                  <a:pt x="753746" y="1906"/>
                </a:lnTo>
                <a:lnTo>
                  <a:pt x="805308" y="3430"/>
                </a:lnTo>
                <a:lnTo>
                  <a:pt x="856743" y="5462"/>
                </a:lnTo>
                <a:lnTo>
                  <a:pt x="908304" y="7748"/>
                </a:lnTo>
                <a:lnTo>
                  <a:pt x="959739" y="10542"/>
                </a:lnTo>
                <a:lnTo>
                  <a:pt x="1011174" y="13844"/>
                </a:lnTo>
                <a:lnTo>
                  <a:pt x="1062610" y="17400"/>
                </a:lnTo>
                <a:lnTo>
                  <a:pt x="1113918" y="21463"/>
                </a:lnTo>
                <a:lnTo>
                  <a:pt x="1165352" y="26036"/>
                </a:lnTo>
                <a:lnTo>
                  <a:pt x="1216661" y="30862"/>
                </a:lnTo>
                <a:lnTo>
                  <a:pt x="1267969" y="36195"/>
                </a:lnTo>
                <a:lnTo>
                  <a:pt x="1319276" y="41911"/>
                </a:lnTo>
                <a:lnTo>
                  <a:pt x="1370585" y="48133"/>
                </a:lnTo>
                <a:lnTo>
                  <a:pt x="1421765" y="54611"/>
                </a:lnTo>
                <a:lnTo>
                  <a:pt x="1465073" y="65151"/>
                </a:lnTo>
                <a:lnTo>
                  <a:pt x="1501268" y="104268"/>
                </a:lnTo>
                <a:lnTo>
                  <a:pt x="1512571" y="143383"/>
                </a:lnTo>
                <a:lnTo>
                  <a:pt x="1517524" y="186690"/>
                </a:lnTo>
                <a:lnTo>
                  <a:pt x="1519428" y="229998"/>
                </a:lnTo>
                <a:lnTo>
                  <a:pt x="1519174" y="273431"/>
                </a:lnTo>
                <a:lnTo>
                  <a:pt x="1517777" y="316612"/>
                </a:lnTo>
                <a:close/>
                <a:moveTo>
                  <a:pt x="-4962779" y="4755515"/>
                </a:moveTo>
              </a:path>
            </a:pathLst>
          </a:custGeom>
          <a:noFill/>
          <a:ln w="10667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25" name="Freeform 825"/>
          <p:cNvSpPr/>
          <p:nvPr/>
        </p:nvSpPr>
        <p:spPr>
          <a:xfrm>
            <a:off x="9572625" y="4562602"/>
            <a:ext cx="1472945" cy="894588"/>
          </a:xfrm>
          <a:custGeom>
            <a:avLst/>
            <a:gdLst/>
            <a:ahLst/>
            <a:cxnLst/>
            <a:rect l="0" t="0" r="0" b="0"/>
            <a:pathLst>
              <a:path w="1472945" h="894588">
                <a:moveTo>
                  <a:pt x="566419" y="0"/>
                </a:moveTo>
                <a:lnTo>
                  <a:pt x="517143" y="128"/>
                </a:lnTo>
                <a:lnTo>
                  <a:pt x="467994" y="1016"/>
                </a:lnTo>
                <a:lnTo>
                  <a:pt x="418592" y="2922"/>
                </a:lnTo>
                <a:lnTo>
                  <a:pt x="369569" y="5843"/>
                </a:lnTo>
                <a:lnTo>
                  <a:pt x="320420" y="9906"/>
                </a:lnTo>
                <a:lnTo>
                  <a:pt x="268985" y="16003"/>
                </a:lnTo>
                <a:lnTo>
                  <a:pt x="218185" y="26671"/>
                </a:lnTo>
                <a:lnTo>
                  <a:pt x="170306" y="44704"/>
                </a:lnTo>
                <a:lnTo>
                  <a:pt x="127507" y="72898"/>
                </a:lnTo>
                <a:lnTo>
                  <a:pt x="95757" y="108585"/>
                </a:lnTo>
                <a:lnTo>
                  <a:pt x="71881" y="150750"/>
                </a:lnTo>
                <a:lnTo>
                  <a:pt x="54102" y="196723"/>
                </a:lnTo>
                <a:lnTo>
                  <a:pt x="40893" y="243968"/>
                </a:lnTo>
                <a:lnTo>
                  <a:pt x="29082" y="296038"/>
                </a:lnTo>
                <a:lnTo>
                  <a:pt x="19177" y="348616"/>
                </a:lnTo>
                <a:lnTo>
                  <a:pt x="11176" y="401575"/>
                </a:lnTo>
                <a:lnTo>
                  <a:pt x="5333" y="455041"/>
                </a:lnTo>
                <a:lnTo>
                  <a:pt x="1651" y="508635"/>
                </a:lnTo>
                <a:lnTo>
                  <a:pt x="0" y="562484"/>
                </a:lnTo>
                <a:lnTo>
                  <a:pt x="634" y="615188"/>
                </a:lnTo>
                <a:lnTo>
                  <a:pt x="761" y="625603"/>
                </a:lnTo>
                <a:lnTo>
                  <a:pt x="1523" y="644653"/>
                </a:lnTo>
                <a:lnTo>
                  <a:pt x="1778" y="654431"/>
                </a:lnTo>
                <a:lnTo>
                  <a:pt x="9779" y="721234"/>
                </a:lnTo>
                <a:lnTo>
                  <a:pt x="32639" y="783337"/>
                </a:lnTo>
                <a:lnTo>
                  <a:pt x="62356" y="816229"/>
                </a:lnTo>
                <a:lnTo>
                  <a:pt x="99948" y="835787"/>
                </a:lnTo>
                <a:lnTo>
                  <a:pt x="142493" y="845948"/>
                </a:lnTo>
                <a:lnTo>
                  <a:pt x="187070" y="850901"/>
                </a:lnTo>
                <a:lnTo>
                  <a:pt x="230631" y="854457"/>
                </a:lnTo>
                <a:lnTo>
                  <a:pt x="277114" y="859410"/>
                </a:lnTo>
                <a:lnTo>
                  <a:pt x="370078" y="868426"/>
                </a:lnTo>
                <a:lnTo>
                  <a:pt x="463422" y="876046"/>
                </a:lnTo>
                <a:lnTo>
                  <a:pt x="611631" y="885698"/>
                </a:lnTo>
                <a:lnTo>
                  <a:pt x="713358" y="890524"/>
                </a:lnTo>
                <a:lnTo>
                  <a:pt x="815340" y="893446"/>
                </a:lnTo>
                <a:lnTo>
                  <a:pt x="917320" y="894588"/>
                </a:lnTo>
                <a:lnTo>
                  <a:pt x="1019302" y="893826"/>
                </a:lnTo>
                <a:lnTo>
                  <a:pt x="1070229" y="892684"/>
                </a:lnTo>
                <a:lnTo>
                  <a:pt x="1097153" y="892302"/>
                </a:lnTo>
                <a:lnTo>
                  <a:pt x="1176528" y="889509"/>
                </a:lnTo>
                <a:lnTo>
                  <a:pt x="1227835" y="886715"/>
                </a:lnTo>
                <a:lnTo>
                  <a:pt x="1279017" y="882904"/>
                </a:lnTo>
                <a:lnTo>
                  <a:pt x="1329817" y="877316"/>
                </a:lnTo>
                <a:lnTo>
                  <a:pt x="1380363" y="869443"/>
                </a:lnTo>
                <a:lnTo>
                  <a:pt x="1430146" y="858648"/>
                </a:lnTo>
                <a:lnTo>
                  <a:pt x="1472945" y="845185"/>
                </a:lnTo>
                <a:lnTo>
                  <a:pt x="976376" y="845185"/>
                </a:lnTo>
                <a:lnTo>
                  <a:pt x="873379" y="844296"/>
                </a:lnTo>
                <a:lnTo>
                  <a:pt x="770508" y="841757"/>
                </a:lnTo>
                <a:lnTo>
                  <a:pt x="667384" y="837312"/>
                </a:lnTo>
                <a:lnTo>
                  <a:pt x="564515" y="831215"/>
                </a:lnTo>
                <a:lnTo>
                  <a:pt x="461518" y="823468"/>
                </a:lnTo>
                <a:lnTo>
                  <a:pt x="358647" y="813816"/>
                </a:lnTo>
                <a:lnTo>
                  <a:pt x="255905" y="802513"/>
                </a:lnTo>
                <a:lnTo>
                  <a:pt x="138556" y="787654"/>
                </a:lnTo>
                <a:lnTo>
                  <a:pt x="97663" y="772034"/>
                </a:lnTo>
                <a:lnTo>
                  <a:pt x="74041" y="740665"/>
                </a:lnTo>
                <a:lnTo>
                  <a:pt x="63500" y="700913"/>
                </a:lnTo>
                <a:lnTo>
                  <a:pt x="58419" y="658115"/>
                </a:lnTo>
                <a:lnTo>
                  <a:pt x="56388" y="615188"/>
                </a:lnTo>
                <a:lnTo>
                  <a:pt x="56642" y="572009"/>
                </a:lnTo>
                <a:lnTo>
                  <a:pt x="58419" y="528701"/>
                </a:lnTo>
                <a:lnTo>
                  <a:pt x="58419" y="512191"/>
                </a:lnTo>
                <a:lnTo>
                  <a:pt x="59435" y="504953"/>
                </a:lnTo>
                <a:lnTo>
                  <a:pt x="62483" y="451231"/>
                </a:lnTo>
                <a:lnTo>
                  <a:pt x="67056" y="397638"/>
                </a:lnTo>
                <a:lnTo>
                  <a:pt x="73786" y="344425"/>
                </a:lnTo>
                <a:lnTo>
                  <a:pt x="83057" y="291719"/>
                </a:lnTo>
                <a:lnTo>
                  <a:pt x="95631" y="239903"/>
                </a:lnTo>
                <a:lnTo>
                  <a:pt x="108711" y="200660"/>
                </a:lnTo>
                <a:lnTo>
                  <a:pt x="125856" y="162941"/>
                </a:lnTo>
                <a:lnTo>
                  <a:pt x="148208" y="129032"/>
                </a:lnTo>
                <a:lnTo>
                  <a:pt x="177038" y="100712"/>
                </a:lnTo>
                <a:lnTo>
                  <a:pt x="212725" y="80646"/>
                </a:lnTo>
                <a:lnTo>
                  <a:pt x="252094" y="68200"/>
                </a:lnTo>
                <a:lnTo>
                  <a:pt x="293369" y="61215"/>
                </a:lnTo>
                <a:lnTo>
                  <a:pt x="334898" y="57404"/>
                </a:lnTo>
                <a:lnTo>
                  <a:pt x="385698" y="54229"/>
                </a:lnTo>
                <a:lnTo>
                  <a:pt x="436626" y="51816"/>
                </a:lnTo>
                <a:lnTo>
                  <a:pt x="487426" y="49912"/>
                </a:lnTo>
                <a:lnTo>
                  <a:pt x="589153" y="47753"/>
                </a:lnTo>
                <a:lnTo>
                  <a:pt x="1194689" y="47244"/>
                </a:lnTo>
                <a:lnTo>
                  <a:pt x="1221867" y="45085"/>
                </a:lnTo>
                <a:lnTo>
                  <a:pt x="1240408" y="41910"/>
                </a:lnTo>
                <a:lnTo>
                  <a:pt x="1255268" y="35306"/>
                </a:lnTo>
                <a:lnTo>
                  <a:pt x="1267586" y="24766"/>
                </a:lnTo>
                <a:lnTo>
                  <a:pt x="1278635" y="9906"/>
                </a:lnTo>
                <a:lnTo>
                  <a:pt x="1009142" y="9906"/>
                </a:lnTo>
                <a:lnTo>
                  <a:pt x="959993" y="9653"/>
                </a:lnTo>
                <a:lnTo>
                  <a:pt x="615568" y="509"/>
                </a:lnTo>
                <a:lnTo>
                  <a:pt x="566419" y="0"/>
                </a:lnTo>
                <a:close/>
                <a:moveTo>
                  <a:pt x="-7277227" y="2295398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26" name="Freeform 826"/>
          <p:cNvSpPr/>
          <p:nvPr/>
        </p:nvSpPr>
        <p:spPr>
          <a:xfrm>
            <a:off x="10549001" y="4433317"/>
            <a:ext cx="642746" cy="974470"/>
          </a:xfrm>
          <a:custGeom>
            <a:avLst/>
            <a:gdLst/>
            <a:ahLst/>
            <a:cxnLst/>
            <a:rect l="0" t="0" r="0" b="0"/>
            <a:pathLst>
              <a:path w="642746" h="974470">
                <a:moveTo>
                  <a:pt x="630301" y="0"/>
                </a:moveTo>
                <a:lnTo>
                  <a:pt x="564133" y="0"/>
                </a:lnTo>
                <a:lnTo>
                  <a:pt x="542035" y="22479"/>
                </a:lnTo>
                <a:lnTo>
                  <a:pt x="507745" y="60198"/>
                </a:lnTo>
                <a:lnTo>
                  <a:pt x="470407" y="105536"/>
                </a:lnTo>
                <a:lnTo>
                  <a:pt x="439166" y="151257"/>
                </a:lnTo>
                <a:lnTo>
                  <a:pt x="423291" y="189738"/>
                </a:lnTo>
                <a:lnTo>
                  <a:pt x="432180" y="213486"/>
                </a:lnTo>
                <a:lnTo>
                  <a:pt x="438657" y="216661"/>
                </a:lnTo>
                <a:lnTo>
                  <a:pt x="445769" y="218694"/>
                </a:lnTo>
                <a:lnTo>
                  <a:pt x="452881" y="219836"/>
                </a:lnTo>
                <a:lnTo>
                  <a:pt x="480567" y="223266"/>
                </a:lnTo>
                <a:lnTo>
                  <a:pt x="501015" y="227203"/>
                </a:lnTo>
                <a:lnTo>
                  <a:pt x="537337" y="244475"/>
                </a:lnTo>
                <a:lnTo>
                  <a:pt x="565277" y="287782"/>
                </a:lnTo>
                <a:lnTo>
                  <a:pt x="575564" y="340360"/>
                </a:lnTo>
                <a:lnTo>
                  <a:pt x="581659" y="391667"/>
                </a:lnTo>
                <a:lnTo>
                  <a:pt x="587375" y="443103"/>
                </a:lnTo>
                <a:lnTo>
                  <a:pt x="592328" y="494664"/>
                </a:lnTo>
                <a:lnTo>
                  <a:pt x="596138" y="546226"/>
                </a:lnTo>
                <a:lnTo>
                  <a:pt x="598169" y="598169"/>
                </a:lnTo>
                <a:lnTo>
                  <a:pt x="599440" y="641476"/>
                </a:lnTo>
                <a:lnTo>
                  <a:pt x="599440" y="657986"/>
                </a:lnTo>
                <a:lnTo>
                  <a:pt x="598931" y="699261"/>
                </a:lnTo>
                <a:lnTo>
                  <a:pt x="594867" y="750316"/>
                </a:lnTo>
                <a:lnTo>
                  <a:pt x="585851" y="800226"/>
                </a:lnTo>
                <a:lnTo>
                  <a:pt x="570356" y="847725"/>
                </a:lnTo>
                <a:lnTo>
                  <a:pt x="546607" y="885570"/>
                </a:lnTo>
                <a:lnTo>
                  <a:pt x="513842" y="912367"/>
                </a:lnTo>
                <a:lnTo>
                  <a:pt x="474599" y="930401"/>
                </a:lnTo>
                <a:lnTo>
                  <a:pt x="431165" y="941578"/>
                </a:lnTo>
                <a:lnTo>
                  <a:pt x="383920" y="949959"/>
                </a:lnTo>
                <a:lnTo>
                  <a:pt x="336422" y="956945"/>
                </a:lnTo>
                <a:lnTo>
                  <a:pt x="288670" y="962406"/>
                </a:lnTo>
                <a:lnTo>
                  <a:pt x="240792" y="966723"/>
                </a:lnTo>
                <a:lnTo>
                  <a:pt x="192658" y="969898"/>
                </a:lnTo>
                <a:lnTo>
                  <a:pt x="144526" y="972184"/>
                </a:lnTo>
                <a:lnTo>
                  <a:pt x="96392" y="973581"/>
                </a:lnTo>
                <a:lnTo>
                  <a:pt x="48132" y="974217"/>
                </a:lnTo>
                <a:lnTo>
                  <a:pt x="0" y="974470"/>
                </a:lnTo>
                <a:lnTo>
                  <a:pt x="496569" y="974470"/>
                </a:lnTo>
                <a:lnTo>
                  <a:pt x="547116" y="949070"/>
                </a:lnTo>
                <a:lnTo>
                  <a:pt x="583183" y="916050"/>
                </a:lnTo>
                <a:lnTo>
                  <a:pt x="609600" y="871347"/>
                </a:lnTo>
                <a:lnTo>
                  <a:pt x="625729" y="821562"/>
                </a:lnTo>
                <a:lnTo>
                  <a:pt x="635762" y="769492"/>
                </a:lnTo>
                <a:lnTo>
                  <a:pt x="640968" y="716153"/>
                </a:lnTo>
                <a:lnTo>
                  <a:pt x="642746" y="662813"/>
                </a:lnTo>
                <a:lnTo>
                  <a:pt x="642619" y="610616"/>
                </a:lnTo>
                <a:lnTo>
                  <a:pt x="641477" y="562101"/>
                </a:lnTo>
                <a:lnTo>
                  <a:pt x="638937" y="513841"/>
                </a:lnTo>
                <a:lnTo>
                  <a:pt x="635380" y="465708"/>
                </a:lnTo>
                <a:lnTo>
                  <a:pt x="630808" y="417703"/>
                </a:lnTo>
                <a:lnTo>
                  <a:pt x="625093" y="369188"/>
                </a:lnTo>
                <a:lnTo>
                  <a:pt x="618870" y="321817"/>
                </a:lnTo>
                <a:lnTo>
                  <a:pt x="616457" y="302513"/>
                </a:lnTo>
                <a:lnTo>
                  <a:pt x="608456" y="264667"/>
                </a:lnTo>
                <a:lnTo>
                  <a:pt x="580135" y="217297"/>
                </a:lnTo>
                <a:lnTo>
                  <a:pt x="517397" y="183133"/>
                </a:lnTo>
                <a:lnTo>
                  <a:pt x="481583" y="175386"/>
                </a:lnTo>
                <a:lnTo>
                  <a:pt x="506983" y="137160"/>
                </a:lnTo>
                <a:lnTo>
                  <a:pt x="534669" y="100710"/>
                </a:lnTo>
                <a:lnTo>
                  <a:pt x="564515" y="65785"/>
                </a:lnTo>
                <a:lnTo>
                  <a:pt x="596518" y="32257"/>
                </a:lnTo>
                <a:lnTo>
                  <a:pt x="630301" y="0"/>
                </a:lnTo>
                <a:close/>
                <a:moveTo>
                  <a:pt x="-8124318" y="2424683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27" name="Freeform 827"/>
          <p:cNvSpPr/>
          <p:nvPr/>
        </p:nvSpPr>
        <p:spPr>
          <a:xfrm>
            <a:off x="10263123" y="4609846"/>
            <a:ext cx="504191" cy="5715"/>
          </a:xfrm>
          <a:custGeom>
            <a:avLst/>
            <a:gdLst/>
            <a:ahLst/>
            <a:cxnLst/>
            <a:rect l="0" t="0" r="0" b="0"/>
            <a:pathLst>
              <a:path w="504191" h="5715">
                <a:moveTo>
                  <a:pt x="504191" y="0"/>
                </a:moveTo>
                <a:lnTo>
                  <a:pt x="0" y="0"/>
                </a:lnTo>
                <a:lnTo>
                  <a:pt x="101220" y="890"/>
                </a:lnTo>
                <a:lnTo>
                  <a:pt x="316738" y="5588"/>
                </a:lnTo>
                <a:lnTo>
                  <a:pt x="370333" y="5715"/>
                </a:lnTo>
                <a:lnTo>
                  <a:pt x="423927" y="4700"/>
                </a:lnTo>
                <a:lnTo>
                  <a:pt x="477647" y="2159"/>
                </a:lnTo>
                <a:lnTo>
                  <a:pt x="504191" y="0"/>
                </a:lnTo>
                <a:close/>
                <a:moveTo>
                  <a:pt x="-8014969" y="2248154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28" name="Freeform 828"/>
          <p:cNvSpPr/>
          <p:nvPr/>
        </p:nvSpPr>
        <p:spPr>
          <a:xfrm>
            <a:off x="10581767" y="4391025"/>
            <a:ext cx="602996" cy="181483"/>
          </a:xfrm>
          <a:custGeom>
            <a:avLst/>
            <a:gdLst/>
            <a:ahLst/>
            <a:cxnLst/>
            <a:rect l="0" t="0" r="0" b="0"/>
            <a:pathLst>
              <a:path w="602996" h="181483">
                <a:moveTo>
                  <a:pt x="537337" y="0"/>
                </a:moveTo>
                <a:lnTo>
                  <a:pt x="487552" y="1778"/>
                </a:lnTo>
                <a:lnTo>
                  <a:pt x="438658" y="10542"/>
                </a:lnTo>
                <a:lnTo>
                  <a:pt x="391414" y="25908"/>
                </a:lnTo>
                <a:lnTo>
                  <a:pt x="346837" y="47625"/>
                </a:lnTo>
                <a:lnTo>
                  <a:pt x="305815" y="75439"/>
                </a:lnTo>
                <a:lnTo>
                  <a:pt x="268986" y="109221"/>
                </a:lnTo>
                <a:lnTo>
                  <a:pt x="237489" y="148590"/>
                </a:lnTo>
                <a:lnTo>
                  <a:pt x="233552" y="154686"/>
                </a:lnTo>
                <a:lnTo>
                  <a:pt x="229235" y="160528"/>
                </a:lnTo>
                <a:lnTo>
                  <a:pt x="224154" y="165862"/>
                </a:lnTo>
                <a:lnTo>
                  <a:pt x="217804" y="170180"/>
                </a:lnTo>
                <a:lnTo>
                  <a:pt x="211709" y="173228"/>
                </a:lnTo>
                <a:lnTo>
                  <a:pt x="204469" y="174371"/>
                </a:lnTo>
                <a:lnTo>
                  <a:pt x="196214" y="174371"/>
                </a:lnTo>
                <a:lnTo>
                  <a:pt x="147192" y="177674"/>
                </a:lnTo>
                <a:lnTo>
                  <a:pt x="98171" y="179959"/>
                </a:lnTo>
                <a:lnTo>
                  <a:pt x="49022" y="181102"/>
                </a:lnTo>
                <a:lnTo>
                  <a:pt x="0" y="181483"/>
                </a:lnTo>
                <a:lnTo>
                  <a:pt x="269493" y="181483"/>
                </a:lnTo>
                <a:lnTo>
                  <a:pt x="300736" y="139574"/>
                </a:lnTo>
                <a:lnTo>
                  <a:pt x="350012" y="96012"/>
                </a:lnTo>
                <a:lnTo>
                  <a:pt x="391540" y="71755"/>
                </a:lnTo>
                <a:lnTo>
                  <a:pt x="436372" y="54356"/>
                </a:lnTo>
                <a:lnTo>
                  <a:pt x="483362" y="44450"/>
                </a:lnTo>
                <a:lnTo>
                  <a:pt x="531367" y="42292"/>
                </a:lnTo>
                <a:lnTo>
                  <a:pt x="597535" y="42292"/>
                </a:lnTo>
                <a:lnTo>
                  <a:pt x="602996" y="32005"/>
                </a:lnTo>
                <a:lnTo>
                  <a:pt x="602741" y="20321"/>
                </a:lnTo>
                <a:lnTo>
                  <a:pt x="597280" y="10287"/>
                </a:lnTo>
                <a:lnTo>
                  <a:pt x="587121" y="5334"/>
                </a:lnTo>
                <a:lnTo>
                  <a:pt x="537337" y="0"/>
                </a:lnTo>
                <a:close/>
                <a:moveTo>
                  <a:pt x="-8114792" y="2466975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29" name="Freeform 829"/>
          <p:cNvSpPr/>
          <p:nvPr/>
        </p:nvSpPr>
        <p:spPr>
          <a:xfrm>
            <a:off x="9577451" y="4395852"/>
            <a:ext cx="1618995" cy="1066165"/>
          </a:xfrm>
          <a:custGeom>
            <a:avLst/>
            <a:gdLst/>
            <a:ahLst/>
            <a:cxnLst/>
            <a:rect l="0" t="0" r="0" b="0"/>
            <a:pathLst>
              <a:path w="1618995" h="1066165">
                <a:moveTo>
                  <a:pt x="1618868" y="652779"/>
                </a:moveTo>
                <a:lnTo>
                  <a:pt x="1617726" y="604393"/>
                </a:lnTo>
                <a:lnTo>
                  <a:pt x="1615313" y="556132"/>
                </a:lnTo>
                <a:lnTo>
                  <a:pt x="1611756" y="508000"/>
                </a:lnTo>
                <a:lnTo>
                  <a:pt x="1607057" y="459994"/>
                </a:lnTo>
                <a:lnTo>
                  <a:pt x="1601469" y="411988"/>
                </a:lnTo>
                <a:lnTo>
                  <a:pt x="1595119" y="363981"/>
                </a:lnTo>
                <a:lnTo>
                  <a:pt x="1592706" y="344678"/>
                </a:lnTo>
                <a:lnTo>
                  <a:pt x="1584705" y="306831"/>
                </a:lnTo>
                <a:lnTo>
                  <a:pt x="1556512" y="259460"/>
                </a:lnTo>
                <a:lnTo>
                  <a:pt x="1493646" y="225297"/>
                </a:lnTo>
                <a:lnTo>
                  <a:pt x="1457959" y="217550"/>
                </a:lnTo>
                <a:lnTo>
                  <a:pt x="1483359" y="179450"/>
                </a:lnTo>
                <a:lnTo>
                  <a:pt x="1511045" y="142875"/>
                </a:lnTo>
                <a:lnTo>
                  <a:pt x="1540891" y="107950"/>
                </a:lnTo>
                <a:lnTo>
                  <a:pt x="1572767" y="74422"/>
                </a:lnTo>
                <a:lnTo>
                  <a:pt x="1606550" y="42163"/>
                </a:lnTo>
                <a:lnTo>
                  <a:pt x="1612010" y="32003"/>
                </a:lnTo>
                <a:lnTo>
                  <a:pt x="1611756" y="20193"/>
                </a:lnTo>
                <a:lnTo>
                  <a:pt x="1606295" y="10287"/>
                </a:lnTo>
                <a:lnTo>
                  <a:pt x="1596135" y="5206"/>
                </a:lnTo>
                <a:lnTo>
                  <a:pt x="1546352" y="0"/>
                </a:lnTo>
                <a:lnTo>
                  <a:pt x="1496567" y="1778"/>
                </a:lnTo>
                <a:lnTo>
                  <a:pt x="1447672" y="10413"/>
                </a:lnTo>
                <a:lnTo>
                  <a:pt x="1400555" y="25781"/>
                </a:lnTo>
                <a:lnTo>
                  <a:pt x="1355979" y="47497"/>
                </a:lnTo>
                <a:lnTo>
                  <a:pt x="1314830" y="75310"/>
                </a:lnTo>
                <a:lnTo>
                  <a:pt x="1278128" y="109093"/>
                </a:lnTo>
                <a:lnTo>
                  <a:pt x="1246631" y="148463"/>
                </a:lnTo>
                <a:lnTo>
                  <a:pt x="1242694" y="154685"/>
                </a:lnTo>
                <a:lnTo>
                  <a:pt x="1238250" y="160528"/>
                </a:lnTo>
                <a:lnTo>
                  <a:pt x="1233169" y="165734"/>
                </a:lnTo>
                <a:lnTo>
                  <a:pt x="1226946" y="170179"/>
                </a:lnTo>
                <a:lnTo>
                  <a:pt x="1220851" y="173228"/>
                </a:lnTo>
                <a:lnTo>
                  <a:pt x="1213612" y="174371"/>
                </a:lnTo>
                <a:lnTo>
                  <a:pt x="1205356" y="174371"/>
                </a:lnTo>
                <a:lnTo>
                  <a:pt x="1156334" y="177672"/>
                </a:lnTo>
                <a:lnTo>
                  <a:pt x="1107185" y="179831"/>
                </a:lnTo>
                <a:lnTo>
                  <a:pt x="1058164" y="181101"/>
                </a:lnTo>
                <a:lnTo>
                  <a:pt x="1009015" y="181482"/>
                </a:lnTo>
                <a:lnTo>
                  <a:pt x="959866" y="181101"/>
                </a:lnTo>
                <a:lnTo>
                  <a:pt x="910717" y="180213"/>
                </a:lnTo>
                <a:lnTo>
                  <a:pt x="861567" y="179069"/>
                </a:lnTo>
                <a:lnTo>
                  <a:pt x="812418" y="177546"/>
                </a:lnTo>
                <a:lnTo>
                  <a:pt x="763142" y="175894"/>
                </a:lnTo>
                <a:lnTo>
                  <a:pt x="713993" y="174371"/>
                </a:lnTo>
                <a:lnTo>
                  <a:pt x="664717" y="172973"/>
                </a:lnTo>
                <a:lnTo>
                  <a:pt x="615568" y="172084"/>
                </a:lnTo>
                <a:lnTo>
                  <a:pt x="566292" y="171450"/>
                </a:lnTo>
                <a:lnTo>
                  <a:pt x="517143" y="171576"/>
                </a:lnTo>
                <a:lnTo>
                  <a:pt x="467867" y="172593"/>
                </a:lnTo>
                <a:lnTo>
                  <a:pt x="418718" y="174371"/>
                </a:lnTo>
                <a:lnTo>
                  <a:pt x="369569" y="177291"/>
                </a:lnTo>
                <a:lnTo>
                  <a:pt x="320293" y="181482"/>
                </a:lnTo>
                <a:lnTo>
                  <a:pt x="268858" y="187578"/>
                </a:lnTo>
                <a:lnTo>
                  <a:pt x="218058" y="198247"/>
                </a:lnTo>
                <a:lnTo>
                  <a:pt x="170180" y="216281"/>
                </a:lnTo>
                <a:lnTo>
                  <a:pt x="127507" y="244347"/>
                </a:lnTo>
                <a:lnTo>
                  <a:pt x="95630" y="280162"/>
                </a:lnTo>
                <a:lnTo>
                  <a:pt x="71755" y="322325"/>
                </a:lnTo>
                <a:lnTo>
                  <a:pt x="54102" y="368300"/>
                </a:lnTo>
                <a:lnTo>
                  <a:pt x="40893" y="415544"/>
                </a:lnTo>
                <a:lnTo>
                  <a:pt x="28955" y="467613"/>
                </a:lnTo>
                <a:lnTo>
                  <a:pt x="19050" y="520065"/>
                </a:lnTo>
                <a:lnTo>
                  <a:pt x="11176" y="573150"/>
                </a:lnTo>
                <a:lnTo>
                  <a:pt x="5333" y="626491"/>
                </a:lnTo>
                <a:lnTo>
                  <a:pt x="1524" y="680084"/>
                </a:lnTo>
                <a:lnTo>
                  <a:pt x="0" y="733932"/>
                </a:lnTo>
                <a:lnTo>
                  <a:pt x="507" y="787781"/>
                </a:lnTo>
                <a:lnTo>
                  <a:pt x="762" y="797178"/>
                </a:lnTo>
                <a:lnTo>
                  <a:pt x="1142" y="806576"/>
                </a:lnTo>
                <a:lnTo>
                  <a:pt x="1524" y="816101"/>
                </a:lnTo>
                <a:lnTo>
                  <a:pt x="4571" y="859535"/>
                </a:lnTo>
                <a:lnTo>
                  <a:pt x="18542" y="924940"/>
                </a:lnTo>
                <a:lnTo>
                  <a:pt x="62230" y="987679"/>
                </a:lnTo>
                <a:lnTo>
                  <a:pt x="99949" y="1007237"/>
                </a:lnTo>
                <a:lnTo>
                  <a:pt x="142493" y="1017523"/>
                </a:lnTo>
                <a:lnTo>
                  <a:pt x="187070" y="1022349"/>
                </a:lnTo>
                <a:lnTo>
                  <a:pt x="230505" y="1026032"/>
                </a:lnTo>
                <a:lnTo>
                  <a:pt x="276987" y="1030985"/>
                </a:lnTo>
                <a:lnTo>
                  <a:pt x="323468" y="1035557"/>
                </a:lnTo>
                <a:lnTo>
                  <a:pt x="369951" y="1039876"/>
                </a:lnTo>
                <a:lnTo>
                  <a:pt x="416559" y="1043812"/>
                </a:lnTo>
                <a:lnTo>
                  <a:pt x="463295" y="1047496"/>
                </a:lnTo>
                <a:lnTo>
                  <a:pt x="510158" y="1050798"/>
                </a:lnTo>
                <a:lnTo>
                  <a:pt x="560831" y="1054226"/>
                </a:lnTo>
                <a:lnTo>
                  <a:pt x="611631" y="1057274"/>
                </a:lnTo>
                <a:lnTo>
                  <a:pt x="662431" y="1059815"/>
                </a:lnTo>
                <a:lnTo>
                  <a:pt x="713358" y="1061973"/>
                </a:lnTo>
                <a:lnTo>
                  <a:pt x="764285" y="1063751"/>
                </a:lnTo>
                <a:lnTo>
                  <a:pt x="815213" y="1065021"/>
                </a:lnTo>
                <a:lnTo>
                  <a:pt x="866267" y="1065784"/>
                </a:lnTo>
                <a:lnTo>
                  <a:pt x="917193" y="1066165"/>
                </a:lnTo>
                <a:lnTo>
                  <a:pt x="968247" y="1065910"/>
                </a:lnTo>
                <a:lnTo>
                  <a:pt x="1019175" y="1065276"/>
                </a:lnTo>
                <a:lnTo>
                  <a:pt x="1070102" y="1064132"/>
                </a:lnTo>
                <a:lnTo>
                  <a:pt x="1097026" y="1063751"/>
                </a:lnTo>
                <a:lnTo>
                  <a:pt x="1123695" y="1062990"/>
                </a:lnTo>
                <a:lnTo>
                  <a:pt x="1150112" y="1061973"/>
                </a:lnTo>
                <a:lnTo>
                  <a:pt x="1176401" y="1061085"/>
                </a:lnTo>
                <a:lnTo>
                  <a:pt x="1227708" y="1058290"/>
                </a:lnTo>
                <a:lnTo>
                  <a:pt x="1278890" y="1054354"/>
                </a:lnTo>
                <a:lnTo>
                  <a:pt x="1329817" y="1048765"/>
                </a:lnTo>
                <a:lnTo>
                  <a:pt x="1380235" y="1040891"/>
                </a:lnTo>
                <a:lnTo>
                  <a:pt x="1430146" y="1030223"/>
                </a:lnTo>
                <a:lnTo>
                  <a:pt x="1479677" y="1014602"/>
                </a:lnTo>
                <a:lnTo>
                  <a:pt x="1523492" y="991235"/>
                </a:lnTo>
                <a:lnTo>
                  <a:pt x="1559432" y="958215"/>
                </a:lnTo>
                <a:lnTo>
                  <a:pt x="1585849" y="913637"/>
                </a:lnTo>
                <a:lnTo>
                  <a:pt x="1602105" y="863854"/>
                </a:lnTo>
                <a:lnTo>
                  <a:pt x="1612010" y="811656"/>
                </a:lnTo>
                <a:lnTo>
                  <a:pt x="1617217" y="758444"/>
                </a:lnTo>
                <a:lnTo>
                  <a:pt x="1618995" y="705103"/>
                </a:lnTo>
                <a:lnTo>
                  <a:pt x="1618868" y="652779"/>
                </a:lnTo>
                <a:close/>
                <a:moveTo>
                  <a:pt x="-7768082" y="2462148"/>
                </a:moveTo>
              </a:path>
            </a:pathLst>
          </a:custGeom>
          <a:noFill/>
          <a:ln w="10667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30" name="Freeform 830"/>
          <p:cNvSpPr/>
          <p:nvPr/>
        </p:nvSpPr>
        <p:spPr>
          <a:xfrm>
            <a:off x="9633711" y="4438015"/>
            <a:ext cx="1519682" cy="974599"/>
          </a:xfrm>
          <a:custGeom>
            <a:avLst/>
            <a:gdLst/>
            <a:ahLst/>
            <a:cxnLst/>
            <a:rect l="0" t="0" r="0" b="0"/>
            <a:pathLst>
              <a:path w="1519682" h="974599">
                <a:moveTo>
                  <a:pt x="1490472" y="847725"/>
                </a:moveTo>
                <a:lnTo>
                  <a:pt x="1466596" y="885572"/>
                </a:lnTo>
                <a:lnTo>
                  <a:pt x="1433957" y="912496"/>
                </a:lnTo>
                <a:lnTo>
                  <a:pt x="1394715" y="930402"/>
                </a:lnTo>
                <a:lnTo>
                  <a:pt x="1351154" y="941578"/>
                </a:lnTo>
                <a:lnTo>
                  <a:pt x="1303909" y="950088"/>
                </a:lnTo>
                <a:lnTo>
                  <a:pt x="1256411" y="956946"/>
                </a:lnTo>
                <a:lnTo>
                  <a:pt x="1208786" y="962533"/>
                </a:lnTo>
                <a:lnTo>
                  <a:pt x="1160781" y="966852"/>
                </a:lnTo>
                <a:lnTo>
                  <a:pt x="1112774" y="970027"/>
                </a:lnTo>
                <a:lnTo>
                  <a:pt x="1064642" y="972185"/>
                </a:lnTo>
                <a:lnTo>
                  <a:pt x="1016382" y="973583"/>
                </a:lnTo>
                <a:lnTo>
                  <a:pt x="968248" y="974344"/>
                </a:lnTo>
                <a:lnTo>
                  <a:pt x="919989" y="974599"/>
                </a:lnTo>
                <a:lnTo>
                  <a:pt x="868554" y="974344"/>
                </a:lnTo>
                <a:lnTo>
                  <a:pt x="817119" y="973710"/>
                </a:lnTo>
                <a:lnTo>
                  <a:pt x="765557" y="972566"/>
                </a:lnTo>
                <a:lnTo>
                  <a:pt x="714121" y="971043"/>
                </a:lnTo>
                <a:lnTo>
                  <a:pt x="662559" y="969138"/>
                </a:lnTo>
                <a:lnTo>
                  <a:pt x="611124" y="966724"/>
                </a:lnTo>
                <a:lnTo>
                  <a:pt x="559562" y="963930"/>
                </a:lnTo>
                <a:lnTo>
                  <a:pt x="508128" y="960628"/>
                </a:lnTo>
                <a:lnTo>
                  <a:pt x="456693" y="956946"/>
                </a:lnTo>
                <a:lnTo>
                  <a:pt x="405257" y="952755"/>
                </a:lnTo>
                <a:lnTo>
                  <a:pt x="353695" y="948183"/>
                </a:lnTo>
                <a:lnTo>
                  <a:pt x="302387" y="943230"/>
                </a:lnTo>
                <a:lnTo>
                  <a:pt x="250953" y="937769"/>
                </a:lnTo>
                <a:lnTo>
                  <a:pt x="199645" y="931927"/>
                </a:lnTo>
                <a:lnTo>
                  <a:pt x="148336" y="925577"/>
                </a:lnTo>
                <a:lnTo>
                  <a:pt x="97029" y="918846"/>
                </a:lnTo>
                <a:lnTo>
                  <a:pt x="82170" y="917068"/>
                </a:lnTo>
                <a:lnTo>
                  <a:pt x="41275" y="901447"/>
                </a:lnTo>
                <a:lnTo>
                  <a:pt x="17781" y="870077"/>
                </a:lnTo>
                <a:lnTo>
                  <a:pt x="7240" y="830199"/>
                </a:lnTo>
                <a:lnTo>
                  <a:pt x="2032" y="787528"/>
                </a:lnTo>
                <a:lnTo>
                  <a:pt x="0" y="744475"/>
                </a:lnTo>
                <a:lnTo>
                  <a:pt x="255" y="701294"/>
                </a:lnTo>
                <a:lnTo>
                  <a:pt x="2159" y="658115"/>
                </a:lnTo>
                <a:lnTo>
                  <a:pt x="2159" y="649859"/>
                </a:lnTo>
                <a:lnTo>
                  <a:pt x="2159" y="641478"/>
                </a:lnTo>
                <a:lnTo>
                  <a:pt x="3175" y="634238"/>
                </a:lnTo>
                <a:lnTo>
                  <a:pt x="6223" y="580518"/>
                </a:lnTo>
                <a:lnTo>
                  <a:pt x="10795" y="526924"/>
                </a:lnTo>
                <a:lnTo>
                  <a:pt x="17399" y="473710"/>
                </a:lnTo>
                <a:lnTo>
                  <a:pt x="26797" y="421133"/>
                </a:lnTo>
                <a:lnTo>
                  <a:pt x="39244" y="369316"/>
                </a:lnTo>
                <a:lnTo>
                  <a:pt x="52452" y="329946"/>
                </a:lnTo>
                <a:lnTo>
                  <a:pt x="69596" y="292355"/>
                </a:lnTo>
                <a:lnTo>
                  <a:pt x="91948" y="258318"/>
                </a:lnTo>
                <a:lnTo>
                  <a:pt x="120778" y="230125"/>
                </a:lnTo>
                <a:lnTo>
                  <a:pt x="156465" y="209931"/>
                </a:lnTo>
                <a:lnTo>
                  <a:pt x="195707" y="197612"/>
                </a:lnTo>
                <a:lnTo>
                  <a:pt x="237109" y="190628"/>
                </a:lnTo>
                <a:lnTo>
                  <a:pt x="278511" y="186690"/>
                </a:lnTo>
                <a:lnTo>
                  <a:pt x="329439" y="183643"/>
                </a:lnTo>
                <a:lnTo>
                  <a:pt x="380239" y="181103"/>
                </a:lnTo>
                <a:lnTo>
                  <a:pt x="431166" y="179325"/>
                </a:lnTo>
                <a:lnTo>
                  <a:pt x="481966" y="177928"/>
                </a:lnTo>
                <a:lnTo>
                  <a:pt x="532766" y="177038"/>
                </a:lnTo>
                <a:lnTo>
                  <a:pt x="583566" y="176658"/>
                </a:lnTo>
                <a:lnTo>
                  <a:pt x="634239" y="176658"/>
                </a:lnTo>
                <a:lnTo>
                  <a:pt x="684911" y="176912"/>
                </a:lnTo>
                <a:lnTo>
                  <a:pt x="735457" y="177419"/>
                </a:lnTo>
                <a:lnTo>
                  <a:pt x="789432" y="178562"/>
                </a:lnTo>
                <a:lnTo>
                  <a:pt x="843407" y="179959"/>
                </a:lnTo>
                <a:lnTo>
                  <a:pt x="897129" y="181230"/>
                </a:lnTo>
                <a:lnTo>
                  <a:pt x="950849" y="182118"/>
                </a:lnTo>
                <a:lnTo>
                  <a:pt x="1004570" y="182246"/>
                </a:lnTo>
                <a:lnTo>
                  <a:pt x="1058165" y="181230"/>
                </a:lnTo>
                <a:lnTo>
                  <a:pt x="1111885" y="178816"/>
                </a:lnTo>
                <a:lnTo>
                  <a:pt x="1165607" y="174371"/>
                </a:lnTo>
                <a:lnTo>
                  <a:pt x="1211199" y="154052"/>
                </a:lnTo>
                <a:lnTo>
                  <a:pt x="1231900" y="124841"/>
                </a:lnTo>
                <a:lnTo>
                  <a:pt x="1242442" y="110744"/>
                </a:lnTo>
                <a:lnTo>
                  <a:pt x="1302767" y="53721"/>
                </a:lnTo>
                <a:lnTo>
                  <a:pt x="1344422" y="29465"/>
                </a:lnTo>
                <a:lnTo>
                  <a:pt x="1389127" y="12193"/>
                </a:lnTo>
                <a:lnTo>
                  <a:pt x="1436117" y="2287"/>
                </a:lnTo>
                <a:lnTo>
                  <a:pt x="1484249" y="0"/>
                </a:lnTo>
                <a:lnTo>
                  <a:pt x="1462152" y="22480"/>
                </a:lnTo>
                <a:lnTo>
                  <a:pt x="1427861" y="60199"/>
                </a:lnTo>
                <a:lnTo>
                  <a:pt x="1390396" y="105665"/>
                </a:lnTo>
                <a:lnTo>
                  <a:pt x="1359155" y="151384"/>
                </a:lnTo>
                <a:lnTo>
                  <a:pt x="1343407" y="189738"/>
                </a:lnTo>
                <a:lnTo>
                  <a:pt x="1352170" y="213487"/>
                </a:lnTo>
                <a:lnTo>
                  <a:pt x="1358773" y="216790"/>
                </a:lnTo>
                <a:lnTo>
                  <a:pt x="1365758" y="218694"/>
                </a:lnTo>
                <a:lnTo>
                  <a:pt x="1372997" y="219965"/>
                </a:lnTo>
                <a:lnTo>
                  <a:pt x="1380109" y="220727"/>
                </a:lnTo>
                <a:lnTo>
                  <a:pt x="1400557" y="223266"/>
                </a:lnTo>
                <a:lnTo>
                  <a:pt x="1440434" y="233934"/>
                </a:lnTo>
                <a:lnTo>
                  <a:pt x="1474470" y="264160"/>
                </a:lnTo>
                <a:lnTo>
                  <a:pt x="1491870" y="313818"/>
                </a:lnTo>
                <a:lnTo>
                  <a:pt x="1501775" y="391796"/>
                </a:lnTo>
                <a:lnTo>
                  <a:pt x="1507491" y="443231"/>
                </a:lnTo>
                <a:lnTo>
                  <a:pt x="1512444" y="494665"/>
                </a:lnTo>
                <a:lnTo>
                  <a:pt x="1516127" y="546355"/>
                </a:lnTo>
                <a:lnTo>
                  <a:pt x="1518285" y="598171"/>
                </a:lnTo>
                <a:lnTo>
                  <a:pt x="1519682" y="648081"/>
                </a:lnTo>
                <a:lnTo>
                  <a:pt x="1519047" y="699262"/>
                </a:lnTo>
                <a:lnTo>
                  <a:pt x="1514983" y="750443"/>
                </a:lnTo>
                <a:lnTo>
                  <a:pt x="1505967" y="800355"/>
                </a:lnTo>
                <a:lnTo>
                  <a:pt x="1490472" y="847725"/>
                </a:lnTo>
                <a:close/>
                <a:moveTo>
                  <a:pt x="-8061451" y="2419985"/>
                </a:moveTo>
              </a:path>
            </a:pathLst>
          </a:custGeom>
          <a:noFill/>
          <a:ln w="10667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31" name="Freeform 831"/>
          <p:cNvSpPr/>
          <p:nvPr/>
        </p:nvSpPr>
        <p:spPr>
          <a:xfrm>
            <a:off x="647700" y="1571614"/>
            <a:ext cx="1295400" cy="56908"/>
          </a:xfrm>
          <a:custGeom>
            <a:avLst/>
            <a:gdLst/>
            <a:ahLst/>
            <a:cxnLst/>
            <a:rect l="0" t="0" r="0" b="0"/>
            <a:pathLst>
              <a:path w="1295400" h="56908">
                <a:moveTo>
                  <a:pt x="0" y="56908"/>
                </a:moveTo>
                <a:lnTo>
                  <a:pt x="1295400" y="56908"/>
                </a:lnTo>
                <a:lnTo>
                  <a:pt x="1295400" y="0"/>
                </a:lnTo>
                <a:lnTo>
                  <a:pt x="0" y="0"/>
                </a:lnTo>
                <a:lnTo>
                  <a:pt x="0" y="56908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32" name="Freeform 832"/>
          <p:cNvSpPr/>
          <p:nvPr/>
        </p:nvSpPr>
        <p:spPr>
          <a:xfrm>
            <a:off x="652462" y="1576440"/>
            <a:ext cx="1295400" cy="56907"/>
          </a:xfrm>
          <a:custGeom>
            <a:avLst/>
            <a:gdLst/>
            <a:ahLst/>
            <a:cxnLst/>
            <a:rect l="0" t="0" r="0" b="0"/>
            <a:pathLst>
              <a:path w="1295400" h="56907">
                <a:moveTo>
                  <a:pt x="0" y="56907"/>
                </a:moveTo>
                <a:lnTo>
                  <a:pt x="1295400" y="56907"/>
                </a:lnTo>
                <a:lnTo>
                  <a:pt x="1295400" y="0"/>
                </a:lnTo>
                <a:lnTo>
                  <a:pt x="0" y="0"/>
                </a:lnTo>
                <a:lnTo>
                  <a:pt x="0" y="56907"/>
                </a:lnTo>
                <a:close/>
              </a:path>
            </a:pathLst>
          </a:custGeom>
          <a:noFill/>
          <a:ln w="10666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33" name="Rectangle 833"/>
          <p:cNvSpPr/>
          <p:nvPr/>
        </p:nvSpPr>
        <p:spPr>
          <a:xfrm>
            <a:off x="11418951" y="6400508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29</a:t>
            </a:r>
          </a:p>
        </p:txBody>
      </p:sp>
      <p:sp>
        <p:nvSpPr>
          <p:cNvPr id="834" name="Rectangle 834"/>
          <p:cNvSpPr/>
          <p:nvPr/>
        </p:nvSpPr>
        <p:spPr>
          <a:xfrm>
            <a:off x="630555" y="459812"/>
            <a:ext cx="6441465" cy="112794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A7A8A7"/>
                </a:solidFill>
                <a:latin typeface="Arial"/>
              </a:rPr>
              <a:t>Ti</a:t>
            </a:r>
            <a:r>
              <a:rPr lang="fr-FR" sz="3604" b="1" i="0" spc="936" baseline="0" dirty="0">
                <a:solidFill>
                  <a:srgbClr val="A7A8A7"/>
                </a:solidFill>
                <a:latin typeface="Arial"/>
              </a:rPr>
              <a:t>p</a:t>
            </a:r>
            <a:r>
              <a:rPr lang="fr-FR" sz="3604" b="1" i="0" spc="0" baseline="0" dirty="0">
                <a:solidFill>
                  <a:srgbClr val="A7A8A7"/>
                </a:solidFill>
                <a:latin typeface="Arial"/>
              </a:rPr>
              <a:t>no.8</a:t>
            </a:r>
          </a:p>
          <a:p>
            <a:pPr marL="0">
              <a:lnSpc>
                <a:spcPts val="4058"/>
              </a:lnSpc>
            </a:pP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Feedbac</a:t>
            </a:r>
            <a:r>
              <a:rPr lang="fr-FR" sz="3604" b="1" i="0" spc="1007" baseline="0" dirty="0">
                <a:solidFill>
                  <a:srgbClr val="466CAD"/>
                </a:solidFill>
                <a:latin typeface="Arial"/>
              </a:rPr>
              <a:t>k</a:t>
            </a:r>
            <a:r>
              <a:rPr lang="fr-FR" sz="3604" b="1" i="0" spc="983" baseline="0" dirty="0">
                <a:solidFill>
                  <a:srgbClr val="466CAD"/>
                </a:solidFill>
                <a:latin typeface="Arial"/>
              </a:rPr>
              <a:t>–</a:t>
            </a:r>
            <a:r>
              <a:rPr lang="fr-FR" sz="3604" b="0" i="0" spc="0" baseline="0" dirty="0">
                <a:solidFill>
                  <a:srgbClr val="466CAD"/>
                </a:solidFill>
                <a:latin typeface="Arial"/>
              </a:rPr>
              <a:t>Tak</a:t>
            </a:r>
            <a:r>
              <a:rPr lang="fr-FR" sz="3604" b="0" i="0" spc="871" baseline="0" dirty="0">
                <a:solidFill>
                  <a:srgbClr val="466CAD"/>
                </a:solidFill>
                <a:latin typeface="Arial"/>
              </a:rPr>
              <a:t>e</a:t>
            </a:r>
            <a:r>
              <a:rPr lang="fr-FR" sz="3604" b="0" i="0" spc="0" baseline="0" dirty="0">
                <a:solidFill>
                  <a:srgbClr val="466CAD"/>
                </a:solidFill>
                <a:latin typeface="Arial"/>
              </a:rPr>
              <a:t>note</a:t>
            </a:r>
            <a:r>
              <a:rPr lang="fr-FR" sz="3604" b="0" i="0" spc="1011" baseline="0" dirty="0">
                <a:solidFill>
                  <a:srgbClr val="466CAD"/>
                </a:solidFill>
                <a:latin typeface="Arial"/>
              </a:rPr>
              <a:t>,</a:t>
            </a:r>
            <a:r>
              <a:rPr lang="fr-FR" sz="3604" b="0" i="0" spc="0" baseline="0" dirty="0">
                <a:solidFill>
                  <a:srgbClr val="466CAD"/>
                </a:solidFill>
                <a:latin typeface="Arial"/>
              </a:rPr>
              <a:t>ac</a:t>
            </a:r>
            <a:r>
              <a:rPr lang="fr-FR" sz="3604" b="0" i="0" spc="970" baseline="0" dirty="0">
                <a:solidFill>
                  <a:srgbClr val="466CAD"/>
                </a:solidFill>
                <a:latin typeface="Arial"/>
              </a:rPr>
              <a:t>t</a:t>
            </a:r>
            <a:r>
              <a:rPr lang="fr-FR" sz="3604" b="0" i="0" spc="0" baseline="0" dirty="0">
                <a:solidFill>
                  <a:srgbClr val="466CAD"/>
                </a:solidFill>
                <a:latin typeface="Arial"/>
              </a:rPr>
              <a:t>o</a:t>
            </a:r>
            <a:r>
              <a:rPr lang="fr-FR" sz="3604" b="0" i="0" spc="948" baseline="0" dirty="0">
                <a:solidFill>
                  <a:srgbClr val="466CAD"/>
                </a:solidFill>
                <a:latin typeface="Arial"/>
              </a:rPr>
              <a:t>n</a:t>
            </a:r>
            <a:r>
              <a:rPr lang="fr-FR" sz="3604" b="0" i="0" spc="0" baseline="0" dirty="0">
                <a:solidFill>
                  <a:srgbClr val="466CAD"/>
                </a:solidFill>
                <a:latin typeface="Arial"/>
              </a:rPr>
              <a:t>it</a:t>
            </a:r>
          </a:p>
        </p:txBody>
      </p:sp>
      <p:sp>
        <p:nvSpPr>
          <p:cNvPr id="835" name="Rectangle 835"/>
          <p:cNvSpPr/>
          <p:nvPr/>
        </p:nvSpPr>
        <p:spPr>
          <a:xfrm>
            <a:off x="700087" y="2898415"/>
            <a:ext cx="2730597" cy="3449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029" b="0" i="0" spc="0" baseline="0" dirty="0">
                <a:solidFill>
                  <a:srgbClr val="555555"/>
                </a:solidFill>
                <a:latin typeface="Arial"/>
              </a:rPr>
              <a:t>Alway</a:t>
            </a:r>
            <a:r>
              <a:rPr lang="fr-FR" sz="2029" b="0" i="0" spc="549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2029" b="0" i="0" spc="0" baseline="0" dirty="0">
                <a:solidFill>
                  <a:srgbClr val="555555"/>
                </a:solidFill>
                <a:latin typeface="Arial"/>
              </a:rPr>
              <a:t>as</a:t>
            </a:r>
            <a:r>
              <a:rPr lang="fr-FR" sz="2029" b="0" i="0" spc="510" baseline="0" dirty="0">
                <a:solidFill>
                  <a:srgbClr val="555555"/>
                </a:solidFill>
                <a:latin typeface="Arial"/>
              </a:rPr>
              <a:t>k</a:t>
            </a:r>
            <a:r>
              <a:rPr lang="fr-FR" sz="2029" b="0" i="0" spc="0" baseline="0" dirty="0">
                <a:solidFill>
                  <a:srgbClr val="555555"/>
                </a:solidFill>
                <a:latin typeface="Arial"/>
              </a:rPr>
              <a:t>fo</a:t>
            </a:r>
            <a:r>
              <a:rPr lang="fr-FR" sz="2029" b="0" i="0" spc="517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2029" b="0" i="0" spc="0" baseline="0" dirty="0">
                <a:solidFill>
                  <a:srgbClr val="555555"/>
                </a:solidFill>
                <a:latin typeface="Arial"/>
              </a:rPr>
              <a:t>feedback</a:t>
            </a:r>
          </a:p>
        </p:txBody>
      </p:sp>
      <p:sp>
        <p:nvSpPr>
          <p:cNvPr id="836" name="Rectangle 836"/>
          <p:cNvSpPr/>
          <p:nvPr/>
        </p:nvSpPr>
        <p:spPr>
          <a:xfrm>
            <a:off x="700087" y="3833874"/>
            <a:ext cx="3920560" cy="6197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Tak</a:t>
            </a:r>
            <a:r>
              <a:rPr lang="fr-FR" sz="2027" b="0" i="0" spc="469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note</a:t>
            </a:r>
            <a:r>
              <a:rPr lang="fr-FR" sz="2027" b="0" i="0" spc="488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2027" b="0" i="0" spc="508" baseline="0" dirty="0">
                <a:solidFill>
                  <a:srgbClr val="555555"/>
                </a:solidFill>
                <a:latin typeface="Arial"/>
              </a:rPr>
              <a:t>f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ever</a:t>
            </a:r>
            <a:r>
              <a:rPr lang="fr-FR" sz="2027" b="0" i="0" spc="496" baseline="0" dirty="0">
                <a:solidFill>
                  <a:srgbClr val="555555"/>
                </a:solidFill>
                <a:latin typeface="Arial"/>
              </a:rPr>
              <a:t>y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feedbac</a:t>
            </a:r>
            <a:r>
              <a:rPr lang="fr-FR" sz="2027" b="0" i="0" spc="486" baseline="0" dirty="0">
                <a:solidFill>
                  <a:srgbClr val="555555"/>
                </a:solidFill>
                <a:latin typeface="Arial"/>
              </a:rPr>
              <a:t>k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you </a:t>
            </a:r>
          </a:p>
          <a:p>
            <a:pPr marL="0">
              <a:lnSpc>
                <a:spcPts val="2402"/>
              </a:lnSpc>
            </a:pP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receiv</a:t>
            </a:r>
            <a:r>
              <a:rPr lang="fr-FR" sz="2027" b="0" i="0" spc="510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(</a:t>
            </a:r>
            <a:r>
              <a:rPr lang="fr-FR" sz="2027" b="0" i="0" spc="0" baseline="0" dirty="0" err="1">
                <a:solidFill>
                  <a:srgbClr val="555555"/>
                </a:solidFill>
                <a:latin typeface="Arial"/>
              </a:rPr>
              <a:t>wh</a:t>
            </a:r>
            <a:r>
              <a:rPr lang="fr-FR" sz="2027" spc="510" dirty="0" err="1">
                <a:solidFill>
                  <a:srgbClr val="555555"/>
                </a:solidFill>
                <a:latin typeface="Arial"/>
              </a:rPr>
              <a:t>m</a:t>
            </a:r>
            <a:r>
              <a:rPr lang="fr-FR" sz="2027" b="0" i="0" spc="0" baseline="0" dirty="0" err="1">
                <a:solidFill>
                  <a:srgbClr val="555555"/>
                </a:solidFill>
                <a:latin typeface="Arial"/>
              </a:rPr>
              <a:t>eve</a:t>
            </a:r>
            <a:r>
              <a:rPr lang="fr-FR" sz="2027" b="0" i="0" spc="507" baseline="0" dirty="0" err="1">
                <a:solidFill>
                  <a:srgbClr val="555555"/>
                </a:solidFill>
                <a:latin typeface="Arial"/>
              </a:rPr>
              <a:t>r</a:t>
            </a:r>
            <a:r>
              <a:rPr lang="fr-FR" sz="2027" b="0" i="0" spc="0" baseline="0" dirty="0" err="1">
                <a:solidFill>
                  <a:srgbClr val="555555"/>
                </a:solidFill>
                <a:latin typeface="Arial"/>
              </a:rPr>
              <a:t>i</a:t>
            </a:r>
            <a:r>
              <a:rPr lang="fr-FR" sz="2027" b="0" i="0" spc="526" baseline="0" dirty="0" err="1">
                <a:solidFill>
                  <a:srgbClr val="555555"/>
                </a:solidFill>
                <a:latin typeface="Arial"/>
              </a:rPr>
              <a:t>t</a:t>
            </a:r>
            <a:r>
              <a:rPr lang="fr-FR" sz="2027" b="0" i="0" spc="0" baseline="0" dirty="0" err="1">
                <a:solidFill>
                  <a:srgbClr val="555555"/>
                </a:solidFill>
                <a:latin typeface="Arial"/>
              </a:rPr>
              <a:t>come</a:t>
            </a:r>
            <a:r>
              <a:rPr lang="fr-FR" sz="2027" b="0" i="0" spc="505" baseline="0" dirty="0" err="1">
                <a:solidFill>
                  <a:srgbClr val="555555"/>
                </a:solidFill>
                <a:latin typeface="Arial"/>
              </a:rPr>
              <a:t>s</a:t>
            </a:r>
            <a:r>
              <a:rPr lang="fr-FR" sz="2027" b="0" i="0" spc="0" baseline="0" dirty="0" err="1">
                <a:solidFill>
                  <a:srgbClr val="555555"/>
                </a:solidFill>
                <a:latin typeface="Arial"/>
              </a:rPr>
              <a:t>from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)</a:t>
            </a:r>
          </a:p>
        </p:txBody>
      </p:sp>
      <p:sp>
        <p:nvSpPr>
          <p:cNvPr id="837" name="Rectangle 837"/>
          <p:cNvSpPr/>
          <p:nvPr/>
        </p:nvSpPr>
        <p:spPr>
          <a:xfrm>
            <a:off x="700087" y="5083300"/>
            <a:ext cx="3672185" cy="64957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Tr</a:t>
            </a:r>
            <a:r>
              <a:rPr lang="fr-FR" sz="2027" b="0" i="0" spc="445" baseline="0" dirty="0">
                <a:solidFill>
                  <a:srgbClr val="555555"/>
                </a:solidFill>
                <a:latin typeface="Arial"/>
              </a:rPr>
              <a:t>y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2027" b="0" i="0" spc="544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ac</a:t>
            </a:r>
            <a:r>
              <a:rPr lang="fr-FR" sz="2027" b="0" i="0" spc="511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2027" b="0" i="0" spc="519" baseline="0" dirty="0">
                <a:solidFill>
                  <a:srgbClr val="555555"/>
                </a:solidFill>
                <a:latin typeface="Arial"/>
              </a:rPr>
              <a:t>n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feedbac</a:t>
            </a:r>
            <a:r>
              <a:rPr lang="fr-FR" sz="2027" b="0" i="0" spc="486" baseline="0" dirty="0">
                <a:solidFill>
                  <a:srgbClr val="555555"/>
                </a:solidFill>
                <a:latin typeface="Arial"/>
              </a:rPr>
              <a:t>k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i</a:t>
            </a:r>
            <a:r>
              <a:rPr lang="fr-FR" sz="2027" b="0" i="0" spc="511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i</a:t>
            </a:r>
            <a:r>
              <a:rPr lang="fr-FR" sz="2027" b="0" i="0" spc="518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2027" b="0" i="0" spc="530" baseline="0" dirty="0">
                <a:solidFill>
                  <a:srgbClr val="555555"/>
                </a:solidFill>
                <a:latin typeface="Arial"/>
              </a:rPr>
              <a:t>a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key </a:t>
            </a:r>
          </a:p>
          <a:p>
            <a:pPr marL="0">
              <a:lnSpc>
                <a:spcPts val="2402"/>
              </a:lnSpc>
            </a:pP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facto</a:t>
            </a:r>
            <a:r>
              <a:rPr lang="fr-FR" sz="2027" b="0" i="0" spc="471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2027" b="0" i="0" spc="550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2027" b="0" i="0" spc="0" baseline="0" dirty="0">
                <a:solidFill>
                  <a:srgbClr val="555555"/>
                </a:solidFill>
                <a:latin typeface="Arial"/>
              </a:rPr>
              <a:t>success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Freeform 216"/>
          <p:cNvSpPr/>
          <p:nvPr/>
        </p:nvSpPr>
        <p:spPr>
          <a:xfrm>
            <a:off x="666750" y="1143030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17" name="Freeform 217"/>
          <p:cNvSpPr/>
          <p:nvPr/>
        </p:nvSpPr>
        <p:spPr>
          <a:xfrm>
            <a:off x="671512" y="1147729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noFill/>
          <a:ln w="10666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24" name="Rectangle 224"/>
          <p:cNvSpPr/>
          <p:nvPr/>
        </p:nvSpPr>
        <p:spPr>
          <a:xfrm>
            <a:off x="11489055" y="6397333"/>
            <a:ext cx="68846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2</a:t>
            </a:r>
          </a:p>
        </p:txBody>
      </p:sp>
      <p:sp>
        <p:nvSpPr>
          <p:cNvPr id="225" name="Rectangle 225"/>
          <p:cNvSpPr/>
          <p:nvPr/>
        </p:nvSpPr>
        <p:spPr>
          <a:xfrm>
            <a:off x="630555" y="488768"/>
            <a:ext cx="3794192" cy="61258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4B71B1"/>
                </a:solidFill>
                <a:latin typeface="Arial"/>
              </a:rPr>
              <a:t>Presentin</a:t>
            </a:r>
            <a:r>
              <a:rPr lang="fr-FR" sz="3604" b="1" i="0" spc="916" baseline="0" dirty="0">
                <a:solidFill>
                  <a:srgbClr val="4B71B1"/>
                </a:solidFill>
                <a:latin typeface="Arial"/>
              </a:rPr>
              <a:t>g</a:t>
            </a:r>
            <a:r>
              <a:rPr lang="fr-FR" sz="3604" b="1" i="0" spc="0" baseline="0" dirty="0">
                <a:solidFill>
                  <a:srgbClr val="4B71B1"/>
                </a:solidFill>
                <a:latin typeface="Arial"/>
              </a:rPr>
              <a:t>Today</a:t>
            </a:r>
          </a:p>
        </p:txBody>
      </p:sp>
      <p:sp>
        <p:nvSpPr>
          <p:cNvPr id="228" name="Rectangle 228"/>
          <p:cNvSpPr/>
          <p:nvPr/>
        </p:nvSpPr>
        <p:spPr>
          <a:xfrm>
            <a:off x="4343116" y="3760907"/>
            <a:ext cx="3505768" cy="124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ctr"/>
            <a:r>
              <a:rPr lang="fr-FR" sz="2027" b="1" i="0" spc="0" baseline="0" dirty="0">
                <a:solidFill>
                  <a:srgbClr val="1F497D"/>
                </a:solidFill>
                <a:latin typeface="Arial"/>
              </a:rPr>
              <a:t>Pierre-Emmanuel HASSOUN</a:t>
            </a:r>
            <a:endParaRPr lang="fr-FR" sz="2027" b="1" dirty="0">
              <a:solidFill>
                <a:srgbClr val="1F497D"/>
              </a:solidFill>
              <a:latin typeface="Arial"/>
            </a:endParaRPr>
          </a:p>
          <a:p>
            <a:pPr marL="0" algn="ctr"/>
            <a:r>
              <a:rPr lang="fr-FR" sz="2027" b="0" i="0" spc="0" baseline="0" dirty="0">
                <a:solidFill>
                  <a:srgbClr val="000000"/>
                </a:solidFill>
                <a:latin typeface="Arial"/>
              </a:rPr>
              <a:t>Director (ESCP 2012)</a:t>
            </a:r>
          </a:p>
          <a:p>
            <a:pPr marL="0" algn="ctr"/>
            <a:endParaRPr lang="fr-FR" sz="2027" dirty="0">
              <a:solidFill>
                <a:srgbClr val="000000"/>
              </a:solidFill>
              <a:latin typeface="Arial"/>
            </a:endParaRPr>
          </a:p>
          <a:p>
            <a:pPr marL="0" algn="ctr"/>
            <a:endParaRPr lang="fr-FR" sz="2027" b="0" i="0" spc="0" baseline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858396C7-A049-8357-6B53-AD38A264DA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7" t="2897" r="-565" b="26610"/>
          <a:stretch/>
        </p:blipFill>
        <p:spPr bwMode="auto">
          <a:xfrm>
            <a:off x="5356146" y="1851399"/>
            <a:ext cx="1479708" cy="157760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EY (entreprise) — Wikipédia">
            <a:extLst>
              <a:ext uri="{FF2B5EF4-FFF2-40B4-BE49-F238E27FC236}">
                <a16:creationId xmlns:a16="http://schemas.microsoft.com/office/drawing/2014/main" id="{8BE1C07A-1F61-EC3C-D50F-3F2348FEC9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5211" y="4673599"/>
            <a:ext cx="1001315" cy="1011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8" name="Freeform 838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839" name="Picture 268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3790950" cy="6858000"/>
          </a:xfrm>
          <a:prstGeom prst="rect">
            <a:avLst/>
          </a:prstGeom>
          <a:noFill/>
        </p:spPr>
      </p:pic>
      <p:sp>
        <p:nvSpPr>
          <p:cNvPr id="840" name="Freeform 840"/>
          <p:cNvSpPr/>
          <p:nvPr/>
        </p:nvSpPr>
        <p:spPr>
          <a:xfrm>
            <a:off x="666750" y="1076314"/>
            <a:ext cx="1295400" cy="56908"/>
          </a:xfrm>
          <a:custGeom>
            <a:avLst/>
            <a:gdLst/>
            <a:ahLst/>
            <a:cxnLst/>
            <a:rect l="0" t="0" r="0" b="0"/>
            <a:pathLst>
              <a:path w="1295400" h="56908">
                <a:moveTo>
                  <a:pt x="0" y="56908"/>
                </a:moveTo>
                <a:lnTo>
                  <a:pt x="1295400" y="56908"/>
                </a:lnTo>
                <a:lnTo>
                  <a:pt x="1295400" y="0"/>
                </a:lnTo>
                <a:lnTo>
                  <a:pt x="0" y="0"/>
                </a:lnTo>
                <a:lnTo>
                  <a:pt x="0" y="56908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41" name="Freeform 841"/>
          <p:cNvSpPr/>
          <p:nvPr/>
        </p:nvSpPr>
        <p:spPr>
          <a:xfrm>
            <a:off x="671512" y="1081140"/>
            <a:ext cx="1295400" cy="56907"/>
          </a:xfrm>
          <a:custGeom>
            <a:avLst/>
            <a:gdLst/>
            <a:ahLst/>
            <a:cxnLst/>
            <a:rect l="0" t="0" r="0" b="0"/>
            <a:pathLst>
              <a:path w="1295400" h="56907">
                <a:moveTo>
                  <a:pt x="0" y="56907"/>
                </a:moveTo>
                <a:lnTo>
                  <a:pt x="1295400" y="56907"/>
                </a:lnTo>
                <a:lnTo>
                  <a:pt x="1295400" y="0"/>
                </a:lnTo>
                <a:lnTo>
                  <a:pt x="0" y="0"/>
                </a:lnTo>
                <a:lnTo>
                  <a:pt x="0" y="56907"/>
                </a:lnTo>
                <a:close/>
              </a:path>
            </a:pathLst>
          </a:custGeom>
          <a:noFill/>
          <a:ln w="10666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42" name="Rectangle 842"/>
          <p:cNvSpPr/>
          <p:nvPr/>
        </p:nvSpPr>
        <p:spPr>
          <a:xfrm>
            <a:off x="11418951" y="6397333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30</a:t>
            </a:r>
          </a:p>
        </p:txBody>
      </p:sp>
      <p:sp>
        <p:nvSpPr>
          <p:cNvPr id="843" name="Rectangle 843"/>
          <p:cNvSpPr/>
          <p:nvPr/>
        </p:nvSpPr>
        <p:spPr>
          <a:xfrm>
            <a:off x="630555" y="488768"/>
            <a:ext cx="1979220" cy="61258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Contents</a:t>
            </a:r>
          </a:p>
        </p:txBody>
      </p:sp>
      <p:sp>
        <p:nvSpPr>
          <p:cNvPr id="844" name="Rectangle 844"/>
          <p:cNvSpPr/>
          <p:nvPr/>
        </p:nvSpPr>
        <p:spPr>
          <a:xfrm>
            <a:off x="4632578" y="2012567"/>
            <a:ext cx="5510645" cy="47196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Overvie</a:t>
            </a:r>
            <a:r>
              <a:rPr lang="fr-FR" sz="2777" b="0" i="0" spc="794" baseline="0" dirty="0">
                <a:solidFill>
                  <a:srgbClr val="A7A8A7"/>
                </a:solidFill>
                <a:latin typeface="Arial"/>
              </a:rPr>
              <a:t>w</a:t>
            </a:r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o</a:t>
            </a:r>
            <a:r>
              <a:rPr lang="fr-FR" sz="2777" b="0" i="0" spc="742" baseline="0" dirty="0">
                <a:solidFill>
                  <a:srgbClr val="A7A8A7"/>
                </a:solidFill>
                <a:latin typeface="Arial"/>
              </a:rPr>
              <a:t>f</a:t>
            </a:r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th</a:t>
            </a:r>
            <a:r>
              <a:rPr lang="fr-FR" sz="2777" b="0" i="0" spc="786" baseline="0" dirty="0">
                <a:solidFill>
                  <a:srgbClr val="A7A8A7"/>
                </a:solidFill>
                <a:latin typeface="Arial"/>
              </a:rPr>
              <a:t>e</a:t>
            </a:r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consultin</a:t>
            </a:r>
            <a:r>
              <a:rPr lang="fr-FR" sz="2777" b="0" i="0" spc="762" baseline="0" dirty="0">
                <a:solidFill>
                  <a:srgbClr val="A7A8A7"/>
                </a:solidFill>
                <a:latin typeface="Arial"/>
              </a:rPr>
              <a:t>g</a:t>
            </a:r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industry</a:t>
            </a:r>
          </a:p>
        </p:txBody>
      </p:sp>
      <p:sp>
        <p:nvSpPr>
          <p:cNvPr id="845" name="Rectangle 845"/>
          <p:cNvSpPr/>
          <p:nvPr/>
        </p:nvSpPr>
        <p:spPr>
          <a:xfrm>
            <a:off x="4632578" y="3023487"/>
            <a:ext cx="3256254" cy="47196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Recruitmen</a:t>
            </a:r>
            <a:r>
              <a:rPr lang="fr-FR" sz="2777" b="0" i="0" spc="783" baseline="0" dirty="0">
                <a:solidFill>
                  <a:srgbClr val="A7A8A7"/>
                </a:solidFill>
                <a:latin typeface="Arial"/>
              </a:rPr>
              <a:t>t</a:t>
            </a:r>
            <a:r>
              <a:rPr lang="fr-FR" sz="2777" b="0" i="0" spc="0" baseline="0" dirty="0">
                <a:solidFill>
                  <a:srgbClr val="A7A8A7"/>
                </a:solidFill>
                <a:latin typeface="Arial"/>
              </a:rPr>
              <a:t>process</a:t>
            </a:r>
          </a:p>
        </p:txBody>
      </p:sp>
      <p:sp>
        <p:nvSpPr>
          <p:cNvPr id="846" name="Rectangle 846"/>
          <p:cNvSpPr/>
          <p:nvPr/>
        </p:nvSpPr>
        <p:spPr>
          <a:xfrm>
            <a:off x="4632578" y="4034049"/>
            <a:ext cx="4865677" cy="47239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779" b="0" i="0" spc="0" baseline="0" dirty="0">
                <a:solidFill>
                  <a:srgbClr val="A7A8A7"/>
                </a:solidFill>
                <a:latin typeface="Arial"/>
              </a:rPr>
              <a:t>Gettin</a:t>
            </a:r>
            <a:r>
              <a:rPr lang="fr-FR" sz="2779" b="0" i="0" spc="806" baseline="0" dirty="0">
                <a:solidFill>
                  <a:srgbClr val="A7A8A7"/>
                </a:solidFill>
                <a:latin typeface="Arial"/>
              </a:rPr>
              <a:t>g</a:t>
            </a:r>
            <a:r>
              <a:rPr lang="fr-FR" sz="2779" b="0" i="0" spc="0" baseline="0" dirty="0">
                <a:solidFill>
                  <a:srgbClr val="A7A8A7"/>
                </a:solidFill>
                <a:latin typeface="Arial"/>
              </a:rPr>
              <a:t>prepared fo</a:t>
            </a:r>
            <a:r>
              <a:rPr lang="fr-FR" sz="2779" b="0" i="0" spc="772" baseline="0" dirty="0">
                <a:solidFill>
                  <a:srgbClr val="A7A8A7"/>
                </a:solidFill>
                <a:latin typeface="Arial"/>
              </a:rPr>
              <a:t>r</a:t>
            </a:r>
            <a:r>
              <a:rPr lang="fr-FR" sz="2779" b="0" i="0" spc="0" baseline="0" dirty="0">
                <a:solidFill>
                  <a:srgbClr val="A7A8A7"/>
                </a:solidFill>
                <a:latin typeface="Arial"/>
              </a:rPr>
              <a:t>interviews</a:t>
            </a:r>
          </a:p>
        </p:txBody>
      </p:sp>
      <p:sp>
        <p:nvSpPr>
          <p:cNvPr id="847" name="Rectangle 847"/>
          <p:cNvSpPr/>
          <p:nvPr/>
        </p:nvSpPr>
        <p:spPr>
          <a:xfrm>
            <a:off x="4632578" y="5045708"/>
            <a:ext cx="787674" cy="47196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777" b="1" i="0" spc="0" baseline="0" dirty="0">
                <a:solidFill>
                  <a:srgbClr val="466CAD"/>
                </a:solidFill>
                <a:latin typeface="Arial"/>
              </a:rPr>
              <a:t>Q&amp;A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8" name="Freeform 848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49" name="Freeform 849"/>
          <p:cNvSpPr/>
          <p:nvPr/>
        </p:nvSpPr>
        <p:spPr>
          <a:xfrm>
            <a:off x="666750" y="1143030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50" name="Freeform 850"/>
          <p:cNvSpPr/>
          <p:nvPr/>
        </p:nvSpPr>
        <p:spPr>
          <a:xfrm>
            <a:off x="671512" y="1147729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noFill/>
          <a:ln w="10666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57" name="Rectangle 857"/>
          <p:cNvSpPr/>
          <p:nvPr/>
        </p:nvSpPr>
        <p:spPr>
          <a:xfrm>
            <a:off x="11418951" y="6397333"/>
            <a:ext cx="135521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31</a:t>
            </a:r>
          </a:p>
        </p:txBody>
      </p:sp>
      <p:sp>
        <p:nvSpPr>
          <p:cNvPr id="858" name="Rectangle 858"/>
          <p:cNvSpPr/>
          <p:nvPr/>
        </p:nvSpPr>
        <p:spPr>
          <a:xfrm>
            <a:off x="630555" y="488768"/>
            <a:ext cx="1016393" cy="61258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Q&amp;A</a:t>
            </a:r>
          </a:p>
        </p:txBody>
      </p:sp>
      <p:sp>
        <p:nvSpPr>
          <p:cNvPr id="2" name="Rectangle 228">
            <a:extLst>
              <a:ext uri="{FF2B5EF4-FFF2-40B4-BE49-F238E27FC236}">
                <a16:creationId xmlns:a16="http://schemas.microsoft.com/office/drawing/2014/main" id="{D8465874-3B0A-1CE5-AA28-8E971E1B47DC}"/>
              </a:ext>
            </a:extLst>
          </p:cNvPr>
          <p:cNvSpPr/>
          <p:nvPr/>
        </p:nvSpPr>
        <p:spPr>
          <a:xfrm>
            <a:off x="4343116" y="3760907"/>
            <a:ext cx="3505768" cy="124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algn="ctr"/>
            <a:r>
              <a:rPr lang="fr-FR" sz="2027" b="1" i="0" spc="0" baseline="0" dirty="0">
                <a:solidFill>
                  <a:srgbClr val="1F497D"/>
                </a:solidFill>
                <a:latin typeface="Arial"/>
              </a:rPr>
              <a:t>Pierre-Emmanuel HASSOUN</a:t>
            </a:r>
            <a:endParaRPr lang="fr-FR" sz="2027" b="1" dirty="0">
              <a:solidFill>
                <a:srgbClr val="1F497D"/>
              </a:solidFill>
              <a:latin typeface="Arial"/>
            </a:endParaRPr>
          </a:p>
          <a:p>
            <a:pPr marL="0" algn="ctr"/>
            <a:r>
              <a:rPr lang="fr-FR" sz="2027" b="0" i="0" spc="0" baseline="0" dirty="0">
                <a:solidFill>
                  <a:srgbClr val="000000"/>
                </a:solidFill>
                <a:latin typeface="Arial"/>
              </a:rPr>
              <a:t>Director (ESCP 2012)</a:t>
            </a:r>
          </a:p>
          <a:p>
            <a:pPr marL="0" algn="ctr"/>
            <a:endParaRPr lang="fr-FR" sz="2027" dirty="0">
              <a:solidFill>
                <a:srgbClr val="000000"/>
              </a:solidFill>
              <a:latin typeface="Arial"/>
            </a:endParaRPr>
          </a:p>
          <a:p>
            <a:pPr marL="0" algn="ctr"/>
            <a:endParaRPr lang="fr-FR" sz="2027" b="0" i="0" spc="0" baseline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97ED37-A291-8E4D-FBF0-A3188D6683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7" t="2897" r="-565" b="26610"/>
          <a:stretch/>
        </p:blipFill>
        <p:spPr bwMode="auto">
          <a:xfrm>
            <a:off x="5356146" y="1851399"/>
            <a:ext cx="1479708" cy="157760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EY (entreprise) — Wikipédia">
            <a:extLst>
              <a:ext uri="{FF2B5EF4-FFF2-40B4-BE49-F238E27FC236}">
                <a16:creationId xmlns:a16="http://schemas.microsoft.com/office/drawing/2014/main" id="{32698316-F7A0-8191-4E39-3D08145139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5211" y="4673599"/>
            <a:ext cx="1001315" cy="1011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Freeform 229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30" name="Freeform 230"/>
          <p:cNvSpPr/>
          <p:nvPr/>
        </p:nvSpPr>
        <p:spPr>
          <a:xfrm>
            <a:off x="666750" y="1143030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31" name="Freeform 231"/>
          <p:cNvSpPr/>
          <p:nvPr/>
        </p:nvSpPr>
        <p:spPr>
          <a:xfrm>
            <a:off x="671512" y="1147729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noFill/>
          <a:ln w="10666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232" name="Picture 232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924800" y="0"/>
            <a:ext cx="4267200" cy="6858000"/>
          </a:xfrm>
          <a:prstGeom prst="rect">
            <a:avLst/>
          </a:prstGeom>
          <a:noFill/>
        </p:spPr>
      </p:pic>
      <p:sp>
        <p:nvSpPr>
          <p:cNvPr id="234" name="Freeform 234"/>
          <p:cNvSpPr/>
          <p:nvPr/>
        </p:nvSpPr>
        <p:spPr>
          <a:xfrm>
            <a:off x="1672589" y="2083690"/>
            <a:ext cx="70231" cy="544702"/>
          </a:xfrm>
          <a:custGeom>
            <a:avLst/>
            <a:gdLst/>
            <a:ahLst/>
            <a:cxnLst/>
            <a:rect l="0" t="0" r="0" b="0"/>
            <a:pathLst>
              <a:path w="70231" h="544702">
                <a:moveTo>
                  <a:pt x="9271" y="0"/>
                </a:moveTo>
                <a:lnTo>
                  <a:pt x="0" y="11430"/>
                </a:lnTo>
                <a:lnTo>
                  <a:pt x="2033" y="77596"/>
                </a:lnTo>
                <a:lnTo>
                  <a:pt x="3556" y="123570"/>
                </a:lnTo>
                <a:lnTo>
                  <a:pt x="11938" y="370585"/>
                </a:lnTo>
                <a:lnTo>
                  <a:pt x="13590" y="420115"/>
                </a:lnTo>
                <a:lnTo>
                  <a:pt x="15113" y="469519"/>
                </a:lnTo>
                <a:lnTo>
                  <a:pt x="16637" y="518921"/>
                </a:lnTo>
                <a:lnTo>
                  <a:pt x="25655" y="538226"/>
                </a:lnTo>
                <a:lnTo>
                  <a:pt x="44324" y="544702"/>
                </a:lnTo>
                <a:lnTo>
                  <a:pt x="62484" y="538226"/>
                </a:lnTo>
                <a:lnTo>
                  <a:pt x="70231" y="518921"/>
                </a:lnTo>
                <a:lnTo>
                  <a:pt x="68708" y="469519"/>
                </a:lnTo>
                <a:lnTo>
                  <a:pt x="67184" y="420115"/>
                </a:lnTo>
                <a:lnTo>
                  <a:pt x="63881" y="321182"/>
                </a:lnTo>
                <a:lnTo>
                  <a:pt x="57150" y="120776"/>
                </a:lnTo>
                <a:lnTo>
                  <a:pt x="55627" y="74168"/>
                </a:lnTo>
                <a:lnTo>
                  <a:pt x="53213" y="1905"/>
                </a:lnTo>
                <a:lnTo>
                  <a:pt x="25655" y="1905"/>
                </a:lnTo>
                <a:lnTo>
                  <a:pt x="9271" y="0"/>
                </a:lnTo>
                <a:close/>
                <a:moveTo>
                  <a:pt x="3101721" y="4774310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35" name="Freeform 235"/>
          <p:cNvSpPr/>
          <p:nvPr/>
        </p:nvSpPr>
        <p:spPr>
          <a:xfrm>
            <a:off x="1400175" y="2028825"/>
            <a:ext cx="324866" cy="349885"/>
          </a:xfrm>
          <a:custGeom>
            <a:avLst/>
            <a:gdLst/>
            <a:ahLst/>
            <a:cxnLst/>
            <a:rect l="0" t="0" r="0" b="0"/>
            <a:pathLst>
              <a:path w="324866" h="349885">
                <a:moveTo>
                  <a:pt x="275463" y="0"/>
                </a:moveTo>
                <a:lnTo>
                  <a:pt x="234950" y="25528"/>
                </a:lnTo>
                <a:lnTo>
                  <a:pt x="218821" y="47879"/>
                </a:lnTo>
                <a:lnTo>
                  <a:pt x="184150" y="90552"/>
                </a:lnTo>
                <a:lnTo>
                  <a:pt x="167005" y="111506"/>
                </a:lnTo>
                <a:lnTo>
                  <a:pt x="149605" y="132461"/>
                </a:lnTo>
                <a:lnTo>
                  <a:pt x="114172" y="175641"/>
                </a:lnTo>
                <a:lnTo>
                  <a:pt x="78486" y="218441"/>
                </a:lnTo>
                <a:lnTo>
                  <a:pt x="6603" y="303658"/>
                </a:lnTo>
                <a:lnTo>
                  <a:pt x="0" y="323850"/>
                </a:lnTo>
                <a:lnTo>
                  <a:pt x="8889" y="341758"/>
                </a:lnTo>
                <a:lnTo>
                  <a:pt x="26161" y="349885"/>
                </a:lnTo>
                <a:lnTo>
                  <a:pt x="44577" y="341377"/>
                </a:lnTo>
                <a:lnTo>
                  <a:pt x="106299" y="267843"/>
                </a:lnTo>
                <a:lnTo>
                  <a:pt x="198247" y="156972"/>
                </a:lnTo>
                <a:lnTo>
                  <a:pt x="272414" y="66295"/>
                </a:lnTo>
                <a:lnTo>
                  <a:pt x="272033" y="53722"/>
                </a:lnTo>
                <a:lnTo>
                  <a:pt x="270129" y="53467"/>
                </a:lnTo>
                <a:lnTo>
                  <a:pt x="271907" y="52579"/>
                </a:lnTo>
                <a:lnTo>
                  <a:pt x="271272" y="30099"/>
                </a:lnTo>
                <a:lnTo>
                  <a:pt x="324866" y="30099"/>
                </a:lnTo>
                <a:lnTo>
                  <a:pt x="322198" y="19050"/>
                </a:lnTo>
                <a:lnTo>
                  <a:pt x="316483" y="10922"/>
                </a:lnTo>
                <a:lnTo>
                  <a:pt x="308229" y="5716"/>
                </a:lnTo>
                <a:lnTo>
                  <a:pt x="298069" y="3429"/>
                </a:lnTo>
                <a:lnTo>
                  <a:pt x="286892" y="1524"/>
                </a:lnTo>
                <a:lnTo>
                  <a:pt x="275463" y="0"/>
                </a:lnTo>
                <a:close/>
                <a:moveTo>
                  <a:pt x="3429000" y="4829175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36" name="Freeform 236"/>
          <p:cNvSpPr/>
          <p:nvPr/>
        </p:nvSpPr>
        <p:spPr>
          <a:xfrm>
            <a:off x="1672208" y="2082547"/>
            <a:ext cx="9652" cy="12573"/>
          </a:xfrm>
          <a:custGeom>
            <a:avLst/>
            <a:gdLst/>
            <a:ahLst/>
            <a:cxnLst/>
            <a:rect l="0" t="0" r="0" b="0"/>
            <a:pathLst>
              <a:path w="9652" h="12573">
                <a:moveTo>
                  <a:pt x="0" y="0"/>
                </a:moveTo>
                <a:lnTo>
                  <a:pt x="381" y="12573"/>
                </a:lnTo>
                <a:lnTo>
                  <a:pt x="9652" y="1143"/>
                </a:lnTo>
                <a:lnTo>
                  <a:pt x="0" y="0"/>
                </a:lnTo>
                <a:close/>
                <a:moveTo>
                  <a:pt x="3103245" y="4775453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37" name="Freeform 237"/>
          <p:cNvSpPr/>
          <p:nvPr/>
        </p:nvSpPr>
        <p:spPr>
          <a:xfrm>
            <a:off x="1681860" y="2075816"/>
            <a:ext cx="16384" cy="9779"/>
          </a:xfrm>
          <a:custGeom>
            <a:avLst/>
            <a:gdLst/>
            <a:ahLst/>
            <a:cxnLst/>
            <a:rect l="0" t="0" r="0" b="0"/>
            <a:pathLst>
              <a:path w="16384" h="9779">
                <a:moveTo>
                  <a:pt x="6478" y="0"/>
                </a:moveTo>
                <a:lnTo>
                  <a:pt x="0" y="7874"/>
                </a:lnTo>
                <a:lnTo>
                  <a:pt x="16384" y="9779"/>
                </a:lnTo>
                <a:lnTo>
                  <a:pt x="6478" y="0"/>
                </a:lnTo>
                <a:close/>
                <a:moveTo>
                  <a:pt x="3100324" y="4782184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38" name="Freeform 238"/>
          <p:cNvSpPr/>
          <p:nvPr/>
        </p:nvSpPr>
        <p:spPr>
          <a:xfrm>
            <a:off x="1688338" y="2074546"/>
            <a:ext cx="37464" cy="11049"/>
          </a:xfrm>
          <a:custGeom>
            <a:avLst/>
            <a:gdLst/>
            <a:ahLst/>
            <a:cxnLst/>
            <a:rect l="0" t="0" r="0" b="0"/>
            <a:pathLst>
              <a:path w="37464" h="11049">
                <a:moveTo>
                  <a:pt x="37210" y="0"/>
                </a:moveTo>
                <a:lnTo>
                  <a:pt x="888" y="0"/>
                </a:lnTo>
                <a:lnTo>
                  <a:pt x="0" y="1270"/>
                </a:lnTo>
                <a:lnTo>
                  <a:pt x="9906" y="11049"/>
                </a:lnTo>
                <a:lnTo>
                  <a:pt x="37464" y="11049"/>
                </a:lnTo>
                <a:lnTo>
                  <a:pt x="37210" y="0"/>
                </a:lnTo>
                <a:close/>
                <a:moveTo>
                  <a:pt x="3095116" y="4783454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39" name="Freeform 239"/>
          <p:cNvSpPr/>
          <p:nvPr/>
        </p:nvSpPr>
        <p:spPr>
          <a:xfrm>
            <a:off x="1672082" y="2075180"/>
            <a:ext cx="16256" cy="8510"/>
          </a:xfrm>
          <a:custGeom>
            <a:avLst/>
            <a:gdLst/>
            <a:ahLst/>
            <a:cxnLst/>
            <a:rect l="0" t="0" r="0" b="0"/>
            <a:pathLst>
              <a:path w="16256" h="8510">
                <a:moveTo>
                  <a:pt x="15620" y="0"/>
                </a:moveTo>
                <a:lnTo>
                  <a:pt x="11557" y="1524"/>
                </a:lnTo>
                <a:lnTo>
                  <a:pt x="4953" y="3811"/>
                </a:lnTo>
                <a:lnTo>
                  <a:pt x="0" y="6224"/>
                </a:lnTo>
                <a:lnTo>
                  <a:pt x="126" y="7367"/>
                </a:lnTo>
                <a:lnTo>
                  <a:pt x="9778" y="8510"/>
                </a:lnTo>
                <a:lnTo>
                  <a:pt x="16256" y="636"/>
                </a:lnTo>
                <a:lnTo>
                  <a:pt x="15620" y="0"/>
                </a:lnTo>
                <a:close/>
                <a:moveTo>
                  <a:pt x="3110738" y="4782820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40" name="Freeform 240"/>
          <p:cNvSpPr/>
          <p:nvPr/>
        </p:nvSpPr>
        <p:spPr>
          <a:xfrm>
            <a:off x="1670304" y="2081404"/>
            <a:ext cx="1904" cy="1143"/>
          </a:xfrm>
          <a:custGeom>
            <a:avLst/>
            <a:gdLst/>
            <a:ahLst/>
            <a:cxnLst/>
            <a:rect l="0" t="0" r="0" b="0"/>
            <a:pathLst>
              <a:path w="1904" h="1143">
                <a:moveTo>
                  <a:pt x="1778" y="0"/>
                </a:moveTo>
                <a:lnTo>
                  <a:pt x="0" y="888"/>
                </a:lnTo>
                <a:lnTo>
                  <a:pt x="1904" y="1143"/>
                </a:lnTo>
                <a:lnTo>
                  <a:pt x="1778" y="0"/>
                </a:lnTo>
                <a:close/>
                <a:moveTo>
                  <a:pt x="3106292" y="4776596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41" name="Freeform 241"/>
          <p:cNvSpPr/>
          <p:nvPr/>
        </p:nvSpPr>
        <p:spPr>
          <a:xfrm>
            <a:off x="1671447" y="2058924"/>
            <a:ext cx="16255" cy="22480"/>
          </a:xfrm>
          <a:custGeom>
            <a:avLst/>
            <a:gdLst/>
            <a:ahLst/>
            <a:cxnLst/>
            <a:rect l="0" t="0" r="0" b="0"/>
            <a:pathLst>
              <a:path w="16255" h="22480">
                <a:moveTo>
                  <a:pt x="0" y="0"/>
                </a:moveTo>
                <a:lnTo>
                  <a:pt x="635" y="22480"/>
                </a:lnTo>
                <a:lnTo>
                  <a:pt x="5588" y="20067"/>
                </a:lnTo>
                <a:lnTo>
                  <a:pt x="12192" y="17780"/>
                </a:lnTo>
                <a:lnTo>
                  <a:pt x="16255" y="16256"/>
                </a:lnTo>
                <a:lnTo>
                  <a:pt x="0" y="0"/>
                </a:lnTo>
                <a:close/>
                <a:moveTo>
                  <a:pt x="3127629" y="4799076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42" name="Freeform 242"/>
          <p:cNvSpPr/>
          <p:nvPr/>
        </p:nvSpPr>
        <p:spPr>
          <a:xfrm>
            <a:off x="1687702" y="2074546"/>
            <a:ext cx="1524" cy="1270"/>
          </a:xfrm>
          <a:custGeom>
            <a:avLst/>
            <a:gdLst/>
            <a:ahLst/>
            <a:cxnLst/>
            <a:rect l="0" t="0" r="0" b="0"/>
            <a:pathLst>
              <a:path w="1524" h="1270">
                <a:moveTo>
                  <a:pt x="1524" y="0"/>
                </a:moveTo>
                <a:lnTo>
                  <a:pt x="0" y="634"/>
                </a:lnTo>
                <a:lnTo>
                  <a:pt x="636" y="1270"/>
                </a:lnTo>
                <a:lnTo>
                  <a:pt x="1524" y="0"/>
                </a:lnTo>
                <a:close/>
                <a:moveTo>
                  <a:pt x="3095752" y="4783454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43" name="Freeform 243"/>
          <p:cNvSpPr/>
          <p:nvPr/>
        </p:nvSpPr>
        <p:spPr>
          <a:xfrm>
            <a:off x="1671447" y="2058924"/>
            <a:ext cx="54101" cy="16256"/>
          </a:xfrm>
          <a:custGeom>
            <a:avLst/>
            <a:gdLst/>
            <a:ahLst/>
            <a:cxnLst/>
            <a:rect l="0" t="0" r="0" b="0"/>
            <a:pathLst>
              <a:path w="54101" h="16256">
                <a:moveTo>
                  <a:pt x="53594" y="0"/>
                </a:moveTo>
                <a:lnTo>
                  <a:pt x="0" y="0"/>
                </a:lnTo>
                <a:lnTo>
                  <a:pt x="16255" y="16256"/>
                </a:lnTo>
                <a:lnTo>
                  <a:pt x="17779" y="15622"/>
                </a:lnTo>
                <a:lnTo>
                  <a:pt x="54101" y="15622"/>
                </a:lnTo>
                <a:lnTo>
                  <a:pt x="53594" y="0"/>
                </a:lnTo>
                <a:close/>
                <a:moveTo>
                  <a:pt x="3127629" y="4799076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44" name="Freeform 244"/>
          <p:cNvSpPr/>
          <p:nvPr/>
        </p:nvSpPr>
        <p:spPr>
          <a:xfrm>
            <a:off x="1507744" y="3978021"/>
            <a:ext cx="368681" cy="545974"/>
          </a:xfrm>
          <a:custGeom>
            <a:avLst/>
            <a:gdLst/>
            <a:ahLst/>
            <a:cxnLst/>
            <a:rect l="0" t="0" r="0" b="0"/>
            <a:pathLst>
              <a:path w="368681" h="545974">
                <a:moveTo>
                  <a:pt x="249428" y="0"/>
                </a:moveTo>
                <a:lnTo>
                  <a:pt x="146811" y="0"/>
                </a:lnTo>
                <a:lnTo>
                  <a:pt x="184531" y="10160"/>
                </a:lnTo>
                <a:lnTo>
                  <a:pt x="211835" y="37593"/>
                </a:lnTo>
                <a:lnTo>
                  <a:pt x="223392" y="82931"/>
                </a:lnTo>
                <a:lnTo>
                  <a:pt x="215900" y="128525"/>
                </a:lnTo>
                <a:lnTo>
                  <a:pt x="196723" y="172340"/>
                </a:lnTo>
                <a:lnTo>
                  <a:pt x="173482" y="211963"/>
                </a:lnTo>
                <a:lnTo>
                  <a:pt x="147954" y="252096"/>
                </a:lnTo>
                <a:lnTo>
                  <a:pt x="122682" y="292354"/>
                </a:lnTo>
                <a:lnTo>
                  <a:pt x="47370" y="413004"/>
                </a:lnTo>
                <a:lnTo>
                  <a:pt x="39750" y="424815"/>
                </a:lnTo>
                <a:lnTo>
                  <a:pt x="32131" y="436627"/>
                </a:lnTo>
                <a:lnTo>
                  <a:pt x="24511" y="448691"/>
                </a:lnTo>
                <a:lnTo>
                  <a:pt x="17017" y="461137"/>
                </a:lnTo>
                <a:lnTo>
                  <a:pt x="10033" y="472187"/>
                </a:lnTo>
                <a:lnTo>
                  <a:pt x="3809" y="483871"/>
                </a:lnTo>
                <a:lnTo>
                  <a:pt x="0" y="496062"/>
                </a:lnTo>
                <a:lnTo>
                  <a:pt x="127" y="509144"/>
                </a:lnTo>
                <a:lnTo>
                  <a:pt x="9017" y="528575"/>
                </a:lnTo>
                <a:lnTo>
                  <a:pt x="25272" y="539750"/>
                </a:lnTo>
                <a:lnTo>
                  <a:pt x="45466" y="544831"/>
                </a:lnTo>
                <a:lnTo>
                  <a:pt x="66547" y="545974"/>
                </a:lnTo>
                <a:lnTo>
                  <a:pt x="342391" y="537084"/>
                </a:lnTo>
                <a:lnTo>
                  <a:pt x="362076" y="528066"/>
                </a:lnTo>
                <a:lnTo>
                  <a:pt x="368681" y="509397"/>
                </a:lnTo>
                <a:lnTo>
                  <a:pt x="364870" y="499110"/>
                </a:lnTo>
                <a:lnTo>
                  <a:pt x="56388" y="499110"/>
                </a:lnTo>
                <a:lnTo>
                  <a:pt x="47370" y="493522"/>
                </a:lnTo>
                <a:lnTo>
                  <a:pt x="45084" y="491237"/>
                </a:lnTo>
                <a:lnTo>
                  <a:pt x="62230" y="491237"/>
                </a:lnTo>
                <a:lnTo>
                  <a:pt x="63500" y="489204"/>
                </a:lnTo>
                <a:lnTo>
                  <a:pt x="67564" y="481584"/>
                </a:lnTo>
                <a:lnTo>
                  <a:pt x="69850" y="476759"/>
                </a:lnTo>
                <a:lnTo>
                  <a:pt x="74930" y="469138"/>
                </a:lnTo>
                <a:lnTo>
                  <a:pt x="79883" y="461646"/>
                </a:lnTo>
                <a:lnTo>
                  <a:pt x="84581" y="454153"/>
                </a:lnTo>
                <a:lnTo>
                  <a:pt x="89027" y="446532"/>
                </a:lnTo>
                <a:lnTo>
                  <a:pt x="105283" y="420625"/>
                </a:lnTo>
                <a:lnTo>
                  <a:pt x="138176" y="368681"/>
                </a:lnTo>
                <a:lnTo>
                  <a:pt x="154304" y="342647"/>
                </a:lnTo>
                <a:lnTo>
                  <a:pt x="179451" y="304419"/>
                </a:lnTo>
                <a:lnTo>
                  <a:pt x="205104" y="265684"/>
                </a:lnTo>
                <a:lnTo>
                  <a:pt x="229488" y="226315"/>
                </a:lnTo>
                <a:lnTo>
                  <a:pt x="251079" y="185802"/>
                </a:lnTo>
                <a:lnTo>
                  <a:pt x="268097" y="143765"/>
                </a:lnTo>
                <a:lnTo>
                  <a:pt x="276732" y="100077"/>
                </a:lnTo>
                <a:lnTo>
                  <a:pt x="274573" y="55246"/>
                </a:lnTo>
                <a:lnTo>
                  <a:pt x="260223" y="13335"/>
                </a:lnTo>
                <a:lnTo>
                  <a:pt x="249428" y="0"/>
                </a:lnTo>
                <a:close/>
                <a:moveTo>
                  <a:pt x="1372235" y="2879979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45" name="Freeform 245"/>
          <p:cNvSpPr/>
          <p:nvPr/>
        </p:nvSpPr>
        <p:spPr>
          <a:xfrm>
            <a:off x="1552828" y="4469258"/>
            <a:ext cx="16510" cy="7873"/>
          </a:xfrm>
          <a:custGeom>
            <a:avLst/>
            <a:gdLst/>
            <a:ahLst/>
            <a:cxnLst/>
            <a:rect l="0" t="0" r="0" b="0"/>
            <a:pathLst>
              <a:path w="16510" h="7873">
                <a:moveTo>
                  <a:pt x="0" y="0"/>
                </a:moveTo>
                <a:lnTo>
                  <a:pt x="2286" y="2285"/>
                </a:lnTo>
                <a:lnTo>
                  <a:pt x="11304" y="7873"/>
                </a:lnTo>
                <a:lnTo>
                  <a:pt x="14224" y="4825"/>
                </a:lnTo>
                <a:lnTo>
                  <a:pt x="16510" y="1142"/>
                </a:lnTo>
                <a:lnTo>
                  <a:pt x="5716" y="1142"/>
                </a:lnTo>
                <a:lnTo>
                  <a:pt x="0" y="0"/>
                </a:lnTo>
                <a:close/>
                <a:moveTo>
                  <a:pt x="835914" y="238874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46" name="Freeform 246"/>
          <p:cNvSpPr/>
          <p:nvPr/>
        </p:nvSpPr>
        <p:spPr>
          <a:xfrm>
            <a:off x="1564132" y="4461511"/>
            <a:ext cx="308482" cy="15620"/>
          </a:xfrm>
          <a:custGeom>
            <a:avLst/>
            <a:gdLst/>
            <a:ahLst/>
            <a:cxnLst/>
            <a:rect l="0" t="0" r="0" b="0"/>
            <a:pathLst>
              <a:path w="308482" h="15620">
                <a:moveTo>
                  <a:pt x="286003" y="0"/>
                </a:moveTo>
                <a:lnTo>
                  <a:pt x="29590" y="7873"/>
                </a:lnTo>
                <a:lnTo>
                  <a:pt x="13843" y="8635"/>
                </a:lnTo>
                <a:lnTo>
                  <a:pt x="5587" y="8889"/>
                </a:lnTo>
                <a:lnTo>
                  <a:pt x="5206" y="8889"/>
                </a:lnTo>
                <a:lnTo>
                  <a:pt x="2920" y="12572"/>
                </a:lnTo>
                <a:lnTo>
                  <a:pt x="0" y="15620"/>
                </a:lnTo>
                <a:lnTo>
                  <a:pt x="308482" y="15620"/>
                </a:lnTo>
                <a:lnTo>
                  <a:pt x="305688" y="7747"/>
                </a:lnTo>
                <a:lnTo>
                  <a:pt x="286003" y="0"/>
                </a:lnTo>
                <a:close/>
                <a:moveTo>
                  <a:pt x="832357" y="2396489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47" name="Freeform 247"/>
          <p:cNvSpPr/>
          <p:nvPr/>
        </p:nvSpPr>
        <p:spPr>
          <a:xfrm>
            <a:off x="1552828" y="4469258"/>
            <a:ext cx="9018" cy="1142"/>
          </a:xfrm>
          <a:custGeom>
            <a:avLst/>
            <a:gdLst/>
            <a:ahLst/>
            <a:cxnLst/>
            <a:rect l="0" t="0" r="0" b="0"/>
            <a:pathLst>
              <a:path w="9018" h="1142">
                <a:moveTo>
                  <a:pt x="9018" y="0"/>
                </a:moveTo>
                <a:lnTo>
                  <a:pt x="0" y="0"/>
                </a:lnTo>
                <a:lnTo>
                  <a:pt x="5716" y="1142"/>
                </a:lnTo>
                <a:lnTo>
                  <a:pt x="7874" y="1142"/>
                </a:lnTo>
                <a:lnTo>
                  <a:pt x="9018" y="0"/>
                </a:lnTo>
                <a:close/>
                <a:moveTo>
                  <a:pt x="835914" y="238874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48" name="Freeform 248"/>
          <p:cNvSpPr/>
          <p:nvPr/>
        </p:nvSpPr>
        <p:spPr>
          <a:xfrm>
            <a:off x="1560702" y="4469258"/>
            <a:ext cx="7875" cy="1142"/>
          </a:xfrm>
          <a:custGeom>
            <a:avLst/>
            <a:gdLst/>
            <a:ahLst/>
            <a:cxnLst/>
            <a:rect l="0" t="0" r="0" b="0"/>
            <a:pathLst>
              <a:path w="7875" h="1142">
                <a:moveTo>
                  <a:pt x="1144" y="0"/>
                </a:moveTo>
                <a:lnTo>
                  <a:pt x="0" y="1142"/>
                </a:lnTo>
                <a:lnTo>
                  <a:pt x="7875" y="1142"/>
                </a:lnTo>
                <a:lnTo>
                  <a:pt x="1144" y="0"/>
                </a:lnTo>
                <a:close/>
                <a:moveTo>
                  <a:pt x="828040" y="238874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49" name="Freeform 249"/>
          <p:cNvSpPr/>
          <p:nvPr/>
        </p:nvSpPr>
        <p:spPr>
          <a:xfrm>
            <a:off x="1561846" y="4469258"/>
            <a:ext cx="8128" cy="1142"/>
          </a:xfrm>
          <a:custGeom>
            <a:avLst/>
            <a:gdLst/>
            <a:ahLst/>
            <a:cxnLst/>
            <a:rect l="0" t="0" r="0" b="0"/>
            <a:pathLst>
              <a:path w="8128" h="1142">
                <a:moveTo>
                  <a:pt x="8128" y="0"/>
                </a:moveTo>
                <a:lnTo>
                  <a:pt x="0" y="0"/>
                </a:lnTo>
                <a:lnTo>
                  <a:pt x="6731" y="1142"/>
                </a:lnTo>
                <a:lnTo>
                  <a:pt x="7492" y="1142"/>
                </a:lnTo>
                <a:lnTo>
                  <a:pt x="8128" y="0"/>
                </a:lnTo>
                <a:close/>
                <a:moveTo>
                  <a:pt x="826896" y="238874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50" name="Freeform 250"/>
          <p:cNvSpPr/>
          <p:nvPr/>
        </p:nvSpPr>
        <p:spPr>
          <a:xfrm>
            <a:off x="1495425" y="3924300"/>
            <a:ext cx="261747" cy="83821"/>
          </a:xfrm>
          <a:custGeom>
            <a:avLst/>
            <a:gdLst/>
            <a:ahLst/>
            <a:cxnLst/>
            <a:rect l="0" t="0" r="0" b="0"/>
            <a:pathLst>
              <a:path w="261747" h="83821">
                <a:moveTo>
                  <a:pt x="155194" y="0"/>
                </a:moveTo>
                <a:lnTo>
                  <a:pt x="105155" y="4065"/>
                </a:lnTo>
                <a:lnTo>
                  <a:pt x="56641" y="17018"/>
                </a:lnTo>
                <a:lnTo>
                  <a:pt x="13461" y="35433"/>
                </a:lnTo>
                <a:lnTo>
                  <a:pt x="0" y="51562"/>
                </a:lnTo>
                <a:lnTo>
                  <a:pt x="3428" y="70612"/>
                </a:lnTo>
                <a:lnTo>
                  <a:pt x="18541" y="83821"/>
                </a:lnTo>
                <a:lnTo>
                  <a:pt x="40513" y="82424"/>
                </a:lnTo>
                <a:lnTo>
                  <a:pt x="75438" y="67437"/>
                </a:lnTo>
                <a:lnTo>
                  <a:pt x="116839" y="56389"/>
                </a:lnTo>
                <a:lnTo>
                  <a:pt x="159130" y="53721"/>
                </a:lnTo>
                <a:lnTo>
                  <a:pt x="261747" y="53721"/>
                </a:lnTo>
                <a:lnTo>
                  <a:pt x="244348" y="32131"/>
                </a:lnTo>
                <a:lnTo>
                  <a:pt x="202819" y="8255"/>
                </a:lnTo>
                <a:lnTo>
                  <a:pt x="155194" y="0"/>
                </a:lnTo>
                <a:close/>
                <a:moveTo>
                  <a:pt x="1438275" y="2933700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51" name="Freeform 251"/>
          <p:cNvSpPr/>
          <p:nvPr/>
        </p:nvSpPr>
        <p:spPr>
          <a:xfrm>
            <a:off x="1428750" y="5862232"/>
            <a:ext cx="382651" cy="128613"/>
          </a:xfrm>
          <a:custGeom>
            <a:avLst/>
            <a:gdLst/>
            <a:ahLst/>
            <a:cxnLst/>
            <a:rect l="0" t="0" r="0" b="0"/>
            <a:pathLst>
              <a:path w="382651" h="128613">
                <a:moveTo>
                  <a:pt x="27558" y="0"/>
                </a:moveTo>
                <a:lnTo>
                  <a:pt x="9397" y="8394"/>
                </a:lnTo>
                <a:lnTo>
                  <a:pt x="0" y="27292"/>
                </a:lnTo>
                <a:lnTo>
                  <a:pt x="6985" y="49263"/>
                </a:lnTo>
                <a:lnTo>
                  <a:pt x="41021" y="81305"/>
                </a:lnTo>
                <a:lnTo>
                  <a:pt x="80391" y="104736"/>
                </a:lnTo>
                <a:lnTo>
                  <a:pt x="123697" y="120078"/>
                </a:lnTo>
                <a:lnTo>
                  <a:pt x="169417" y="127851"/>
                </a:lnTo>
                <a:lnTo>
                  <a:pt x="216026" y="128613"/>
                </a:lnTo>
                <a:lnTo>
                  <a:pt x="262382" y="122859"/>
                </a:lnTo>
                <a:lnTo>
                  <a:pt x="306832" y="111150"/>
                </a:lnTo>
                <a:lnTo>
                  <a:pt x="347598" y="95008"/>
                </a:lnTo>
                <a:lnTo>
                  <a:pt x="382651" y="73926"/>
                </a:lnTo>
                <a:lnTo>
                  <a:pt x="204977" y="73926"/>
                </a:lnTo>
                <a:lnTo>
                  <a:pt x="160655" y="70777"/>
                </a:lnTo>
                <a:lnTo>
                  <a:pt x="118363" y="59397"/>
                </a:lnTo>
                <a:lnTo>
                  <a:pt x="79883" y="39179"/>
                </a:lnTo>
                <a:lnTo>
                  <a:pt x="47116" y="9563"/>
                </a:lnTo>
                <a:lnTo>
                  <a:pt x="27558" y="0"/>
                </a:lnTo>
                <a:close/>
                <a:moveTo>
                  <a:pt x="-432982" y="995768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52" name="Freeform 252"/>
          <p:cNvSpPr/>
          <p:nvPr/>
        </p:nvSpPr>
        <p:spPr>
          <a:xfrm>
            <a:off x="1633727" y="5699722"/>
            <a:ext cx="232918" cy="236436"/>
          </a:xfrm>
          <a:custGeom>
            <a:avLst/>
            <a:gdLst/>
            <a:ahLst/>
            <a:cxnLst/>
            <a:rect l="0" t="0" r="0" b="0"/>
            <a:pathLst>
              <a:path w="232918" h="236436">
                <a:moveTo>
                  <a:pt x="176784" y="0"/>
                </a:moveTo>
                <a:lnTo>
                  <a:pt x="43308" y="0"/>
                </a:lnTo>
                <a:lnTo>
                  <a:pt x="85345" y="7417"/>
                </a:lnTo>
                <a:lnTo>
                  <a:pt x="122809" y="27077"/>
                </a:lnTo>
                <a:lnTo>
                  <a:pt x="152527" y="58789"/>
                </a:lnTo>
                <a:lnTo>
                  <a:pt x="171070" y="96749"/>
                </a:lnTo>
                <a:lnTo>
                  <a:pt x="176149" y="138202"/>
                </a:lnTo>
                <a:lnTo>
                  <a:pt x="171070" y="159081"/>
                </a:lnTo>
                <a:lnTo>
                  <a:pt x="145034" y="190754"/>
                </a:lnTo>
                <a:lnTo>
                  <a:pt x="87249" y="220422"/>
                </a:lnTo>
                <a:lnTo>
                  <a:pt x="44450" y="231953"/>
                </a:lnTo>
                <a:lnTo>
                  <a:pt x="0" y="236436"/>
                </a:lnTo>
                <a:lnTo>
                  <a:pt x="177674" y="236436"/>
                </a:lnTo>
                <a:lnTo>
                  <a:pt x="180595" y="234684"/>
                </a:lnTo>
                <a:lnTo>
                  <a:pt x="211074" y="204204"/>
                </a:lnTo>
                <a:lnTo>
                  <a:pt x="229236" y="165062"/>
                </a:lnTo>
                <a:lnTo>
                  <a:pt x="232918" y="120612"/>
                </a:lnTo>
                <a:lnTo>
                  <a:pt x="224155" y="76607"/>
                </a:lnTo>
                <a:lnTo>
                  <a:pt x="204852" y="35662"/>
                </a:lnTo>
                <a:lnTo>
                  <a:pt x="177293" y="407"/>
                </a:lnTo>
                <a:lnTo>
                  <a:pt x="176784" y="0"/>
                </a:lnTo>
                <a:close/>
                <a:moveTo>
                  <a:pt x="-475449" y="1158278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53" name="Freeform 253"/>
          <p:cNvSpPr/>
          <p:nvPr/>
        </p:nvSpPr>
        <p:spPr>
          <a:xfrm>
            <a:off x="1598294" y="5428870"/>
            <a:ext cx="218186" cy="275932"/>
          </a:xfrm>
          <a:custGeom>
            <a:avLst/>
            <a:gdLst/>
            <a:ahLst/>
            <a:cxnLst/>
            <a:rect l="0" t="0" r="0" b="0"/>
            <a:pathLst>
              <a:path w="218186" h="275932">
                <a:moveTo>
                  <a:pt x="175514" y="0"/>
                </a:moveTo>
                <a:lnTo>
                  <a:pt x="24384" y="0"/>
                </a:lnTo>
                <a:lnTo>
                  <a:pt x="67945" y="380"/>
                </a:lnTo>
                <a:lnTo>
                  <a:pt x="108839" y="16128"/>
                </a:lnTo>
                <a:lnTo>
                  <a:pt x="141986" y="46989"/>
                </a:lnTo>
                <a:lnTo>
                  <a:pt x="160401" y="83439"/>
                </a:lnTo>
                <a:lnTo>
                  <a:pt x="163195" y="97281"/>
                </a:lnTo>
                <a:lnTo>
                  <a:pt x="162307" y="113283"/>
                </a:lnTo>
                <a:lnTo>
                  <a:pt x="136017" y="149859"/>
                </a:lnTo>
                <a:lnTo>
                  <a:pt x="77344" y="191122"/>
                </a:lnTo>
                <a:lnTo>
                  <a:pt x="13336" y="224548"/>
                </a:lnTo>
                <a:lnTo>
                  <a:pt x="0" y="239636"/>
                </a:lnTo>
                <a:lnTo>
                  <a:pt x="1906" y="258559"/>
                </a:lnTo>
                <a:lnTo>
                  <a:pt x="15114" y="273316"/>
                </a:lnTo>
                <a:lnTo>
                  <a:pt x="35688" y="275932"/>
                </a:lnTo>
                <a:lnTo>
                  <a:pt x="55626" y="273596"/>
                </a:lnTo>
                <a:lnTo>
                  <a:pt x="42800" y="273596"/>
                </a:lnTo>
                <a:lnTo>
                  <a:pt x="36831" y="260477"/>
                </a:lnTo>
                <a:lnTo>
                  <a:pt x="31116" y="247459"/>
                </a:lnTo>
                <a:lnTo>
                  <a:pt x="25781" y="234670"/>
                </a:lnTo>
                <a:lnTo>
                  <a:pt x="20447" y="222211"/>
                </a:lnTo>
                <a:lnTo>
                  <a:pt x="72391" y="214934"/>
                </a:lnTo>
                <a:lnTo>
                  <a:pt x="142113" y="214934"/>
                </a:lnTo>
                <a:lnTo>
                  <a:pt x="149988" y="209638"/>
                </a:lnTo>
                <a:lnTo>
                  <a:pt x="185675" y="180987"/>
                </a:lnTo>
                <a:lnTo>
                  <a:pt x="217932" y="125475"/>
                </a:lnTo>
                <a:lnTo>
                  <a:pt x="218186" y="84328"/>
                </a:lnTo>
                <a:lnTo>
                  <a:pt x="205486" y="43814"/>
                </a:lnTo>
                <a:lnTo>
                  <a:pt x="183261" y="7366"/>
                </a:lnTo>
                <a:lnTo>
                  <a:pt x="175514" y="0"/>
                </a:lnTo>
                <a:close/>
                <a:moveTo>
                  <a:pt x="-169164" y="1429130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54" name="Freeform 254"/>
          <p:cNvSpPr/>
          <p:nvPr/>
        </p:nvSpPr>
        <p:spPr>
          <a:xfrm>
            <a:off x="1618741" y="5643804"/>
            <a:ext cx="109220" cy="58662"/>
          </a:xfrm>
          <a:custGeom>
            <a:avLst/>
            <a:gdLst/>
            <a:ahLst/>
            <a:cxnLst/>
            <a:rect l="0" t="0" r="0" b="0"/>
            <a:pathLst>
              <a:path w="109220" h="58662">
                <a:moveTo>
                  <a:pt x="51944" y="0"/>
                </a:moveTo>
                <a:lnTo>
                  <a:pt x="0" y="7277"/>
                </a:lnTo>
                <a:lnTo>
                  <a:pt x="10669" y="32525"/>
                </a:lnTo>
                <a:lnTo>
                  <a:pt x="16384" y="45543"/>
                </a:lnTo>
                <a:lnTo>
                  <a:pt x="22353" y="58662"/>
                </a:lnTo>
                <a:lnTo>
                  <a:pt x="45213" y="47016"/>
                </a:lnTo>
                <a:lnTo>
                  <a:pt x="67564" y="34722"/>
                </a:lnTo>
                <a:lnTo>
                  <a:pt x="89409" y="21539"/>
                </a:lnTo>
                <a:lnTo>
                  <a:pt x="109220" y="8357"/>
                </a:lnTo>
                <a:lnTo>
                  <a:pt x="103251" y="5957"/>
                </a:lnTo>
                <a:lnTo>
                  <a:pt x="51944" y="0"/>
                </a:lnTo>
                <a:close/>
                <a:moveTo>
                  <a:pt x="-404545" y="1214196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55" name="Freeform 255"/>
          <p:cNvSpPr/>
          <p:nvPr/>
        </p:nvSpPr>
        <p:spPr>
          <a:xfrm>
            <a:off x="1641094" y="5652161"/>
            <a:ext cx="169417" cy="50305"/>
          </a:xfrm>
          <a:custGeom>
            <a:avLst/>
            <a:gdLst/>
            <a:ahLst/>
            <a:cxnLst/>
            <a:rect l="0" t="0" r="0" b="0"/>
            <a:pathLst>
              <a:path w="169417" h="50305">
                <a:moveTo>
                  <a:pt x="86867" y="0"/>
                </a:moveTo>
                <a:lnTo>
                  <a:pt x="67056" y="13182"/>
                </a:lnTo>
                <a:lnTo>
                  <a:pt x="45211" y="26365"/>
                </a:lnTo>
                <a:lnTo>
                  <a:pt x="22860" y="38659"/>
                </a:lnTo>
                <a:lnTo>
                  <a:pt x="0" y="50305"/>
                </a:lnTo>
                <a:lnTo>
                  <a:pt x="12826" y="50305"/>
                </a:lnTo>
                <a:lnTo>
                  <a:pt x="35941" y="47561"/>
                </a:lnTo>
                <a:lnTo>
                  <a:pt x="169417" y="47561"/>
                </a:lnTo>
                <a:lnTo>
                  <a:pt x="128651" y="16484"/>
                </a:lnTo>
                <a:lnTo>
                  <a:pt x="86867" y="0"/>
                </a:lnTo>
                <a:close/>
                <a:moveTo>
                  <a:pt x="-435255" y="1205839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56" name="Freeform 256"/>
          <p:cNvSpPr/>
          <p:nvPr/>
        </p:nvSpPr>
        <p:spPr>
          <a:xfrm>
            <a:off x="1670685" y="5643804"/>
            <a:ext cx="69722" cy="8357"/>
          </a:xfrm>
          <a:custGeom>
            <a:avLst/>
            <a:gdLst/>
            <a:ahLst/>
            <a:cxnLst/>
            <a:rect l="0" t="0" r="0" b="0"/>
            <a:pathLst>
              <a:path w="69722" h="8357">
                <a:moveTo>
                  <a:pt x="69722" y="0"/>
                </a:moveTo>
                <a:lnTo>
                  <a:pt x="0" y="0"/>
                </a:lnTo>
                <a:lnTo>
                  <a:pt x="51307" y="5957"/>
                </a:lnTo>
                <a:lnTo>
                  <a:pt x="57276" y="8357"/>
                </a:lnTo>
                <a:lnTo>
                  <a:pt x="69722" y="0"/>
                </a:lnTo>
                <a:close/>
                <a:moveTo>
                  <a:pt x="-456489" y="1214196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57" name="Freeform 257"/>
          <p:cNvSpPr/>
          <p:nvPr/>
        </p:nvSpPr>
        <p:spPr>
          <a:xfrm>
            <a:off x="1494155" y="5372100"/>
            <a:ext cx="279653" cy="114047"/>
          </a:xfrm>
          <a:custGeom>
            <a:avLst/>
            <a:gdLst/>
            <a:ahLst/>
            <a:cxnLst/>
            <a:rect l="0" t="0" r="0" b="0"/>
            <a:pathLst>
              <a:path w="279653" h="114047">
                <a:moveTo>
                  <a:pt x="166624" y="0"/>
                </a:moveTo>
                <a:lnTo>
                  <a:pt x="121411" y="2033"/>
                </a:lnTo>
                <a:lnTo>
                  <a:pt x="77723" y="15114"/>
                </a:lnTo>
                <a:lnTo>
                  <a:pt x="37845" y="38989"/>
                </a:lnTo>
                <a:lnTo>
                  <a:pt x="4191" y="73406"/>
                </a:lnTo>
                <a:lnTo>
                  <a:pt x="0" y="94234"/>
                </a:lnTo>
                <a:lnTo>
                  <a:pt x="12953" y="109475"/>
                </a:lnTo>
                <a:lnTo>
                  <a:pt x="34036" y="114047"/>
                </a:lnTo>
                <a:lnTo>
                  <a:pt x="53720" y="102617"/>
                </a:lnTo>
                <a:lnTo>
                  <a:pt x="87503" y="71883"/>
                </a:lnTo>
                <a:lnTo>
                  <a:pt x="128523" y="56770"/>
                </a:lnTo>
                <a:lnTo>
                  <a:pt x="279653" y="56770"/>
                </a:lnTo>
                <a:lnTo>
                  <a:pt x="251968" y="30734"/>
                </a:lnTo>
                <a:lnTo>
                  <a:pt x="210946" y="9525"/>
                </a:lnTo>
                <a:lnTo>
                  <a:pt x="166624" y="0"/>
                </a:lnTo>
                <a:close/>
                <a:moveTo>
                  <a:pt x="-8255" y="1485900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58" name="Rectangle 258"/>
          <p:cNvSpPr/>
          <p:nvPr/>
        </p:nvSpPr>
        <p:spPr>
          <a:xfrm>
            <a:off x="11489055" y="6400508"/>
            <a:ext cx="68846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3</a:t>
            </a:r>
          </a:p>
        </p:txBody>
      </p:sp>
      <p:sp>
        <p:nvSpPr>
          <p:cNvPr id="259" name="Rectangle 259"/>
          <p:cNvSpPr/>
          <p:nvPr/>
        </p:nvSpPr>
        <p:spPr>
          <a:xfrm>
            <a:off x="630555" y="488768"/>
            <a:ext cx="5092229" cy="61258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Ke</a:t>
            </a:r>
            <a:r>
              <a:rPr lang="fr-FR" sz="3604" b="1" i="0" spc="990" baseline="0" dirty="0">
                <a:solidFill>
                  <a:srgbClr val="466CAD"/>
                </a:solidFill>
                <a:latin typeface="Arial"/>
              </a:rPr>
              <a:t>y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objective</a:t>
            </a:r>
            <a:r>
              <a:rPr lang="fr-FR" sz="3604" b="1" i="0" spc="1008" baseline="0" dirty="0">
                <a:solidFill>
                  <a:srgbClr val="466CAD"/>
                </a:solidFill>
                <a:latin typeface="Arial"/>
              </a:rPr>
              <a:t>s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o</a:t>
            </a:r>
            <a:r>
              <a:rPr lang="fr-FR" sz="3604" b="1" i="0" spc="1009" baseline="0" dirty="0">
                <a:solidFill>
                  <a:srgbClr val="466CAD"/>
                </a:solidFill>
                <a:latin typeface="Arial"/>
              </a:rPr>
              <a:t>f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today</a:t>
            </a:r>
          </a:p>
        </p:txBody>
      </p:sp>
      <p:sp>
        <p:nvSpPr>
          <p:cNvPr id="260" name="Rectangle 260"/>
          <p:cNvSpPr/>
          <p:nvPr/>
        </p:nvSpPr>
        <p:spPr>
          <a:xfrm>
            <a:off x="2076830" y="2102331"/>
            <a:ext cx="4028731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1" i="0" spc="338" baseline="0" dirty="0">
                <a:solidFill>
                  <a:srgbClr val="3660A1"/>
                </a:solidFill>
                <a:latin typeface="Arial"/>
              </a:rPr>
              <a:t>A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better understandin</a:t>
            </a:r>
            <a:r>
              <a:rPr lang="fr-FR" sz="1802" b="1" i="0" spc="487" baseline="0" dirty="0">
                <a:solidFill>
                  <a:srgbClr val="3660A1"/>
                </a:solidFill>
                <a:latin typeface="Arial"/>
              </a:rPr>
              <a:t>g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o</a:t>
            </a:r>
            <a:r>
              <a:rPr lang="fr-FR" sz="1802" b="1" i="0" spc="464" baseline="0" dirty="0">
                <a:solidFill>
                  <a:srgbClr val="3660A1"/>
                </a:solidFill>
                <a:latin typeface="Arial"/>
              </a:rPr>
              <a:t>f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Consulting</a:t>
            </a:r>
          </a:p>
        </p:txBody>
      </p:sp>
      <p:sp>
        <p:nvSpPr>
          <p:cNvPr id="261" name="Rectangle 261"/>
          <p:cNvSpPr/>
          <p:nvPr/>
        </p:nvSpPr>
        <p:spPr>
          <a:xfrm>
            <a:off x="2071116" y="2506673"/>
            <a:ext cx="4531087" cy="86889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Da</a:t>
            </a:r>
            <a:r>
              <a:rPr lang="fr-FR" sz="1577" b="0" i="0" spc="437" baseline="0" dirty="0">
                <a:solidFill>
                  <a:srgbClr val="555555"/>
                </a:solidFill>
                <a:latin typeface="Arial"/>
              </a:rPr>
              <a:t>y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to da</a:t>
            </a:r>
            <a:r>
              <a:rPr lang="fr-FR" sz="1577" b="0" i="0" spc="456" baseline="0" dirty="0">
                <a:solidFill>
                  <a:srgbClr val="555555"/>
                </a:solidFill>
                <a:latin typeface="Arial"/>
              </a:rPr>
              <a:t>y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job</a:t>
            </a:r>
          </a:p>
          <a:p>
            <a:pPr marL="0">
              <a:lnSpc>
                <a:spcPts val="2253"/>
              </a:lnSpc>
            </a:pP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Overvie</a:t>
            </a:r>
            <a:r>
              <a:rPr lang="fr-FR" sz="1577" b="0" i="0" spc="431" baseline="0" dirty="0">
                <a:solidFill>
                  <a:srgbClr val="555555"/>
                </a:solidFill>
                <a:latin typeface="Arial"/>
              </a:rPr>
              <a:t>w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ove</a:t>
            </a:r>
            <a:r>
              <a:rPr lang="fr-FR" sz="1577" b="0" i="0" spc="481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th</a:t>
            </a:r>
            <a:r>
              <a:rPr lang="fr-FR" sz="1577" b="0" i="0" spc="453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consultin</a:t>
            </a:r>
            <a:r>
              <a:rPr lang="fr-FR" sz="1577" b="0" i="0" spc="477" baseline="0" dirty="0">
                <a:solidFill>
                  <a:srgbClr val="555555"/>
                </a:solidFill>
                <a:latin typeface="Arial"/>
              </a:rPr>
              <a:t>g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firm</a:t>
            </a:r>
            <a:r>
              <a:rPr lang="fr-FR" sz="1577" b="0" i="0" spc="507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“Insiders</a:t>
            </a:r>
            <a:r>
              <a:rPr lang="fr-FR" sz="1577" b="0" i="0" spc="363" baseline="0" dirty="0">
                <a:solidFill>
                  <a:srgbClr val="555555"/>
                </a:solidFill>
                <a:latin typeface="Arial"/>
              </a:rPr>
              <a:t>’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view” </a:t>
            </a:r>
          </a:p>
          <a:p>
            <a:pPr marL="0">
              <a:lnSpc>
                <a:spcPts val="2478"/>
              </a:lnSpc>
            </a:pP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Caree</a:t>
            </a:r>
            <a:r>
              <a:rPr lang="fr-FR" sz="1577" b="0" i="0" spc="439" baseline="0" dirty="0">
                <a:solidFill>
                  <a:srgbClr val="555555"/>
                </a:solidFill>
                <a:latin typeface="Arial"/>
              </a:rPr>
              <a:t>r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opportunities</a:t>
            </a:r>
          </a:p>
        </p:txBody>
      </p:sp>
      <p:sp>
        <p:nvSpPr>
          <p:cNvPr id="262" name="Rectangle 262"/>
          <p:cNvSpPr/>
          <p:nvPr/>
        </p:nvSpPr>
        <p:spPr>
          <a:xfrm>
            <a:off x="2076830" y="4000473"/>
            <a:ext cx="4933432" cy="30629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1" i="0" spc="353" baseline="0" dirty="0">
                <a:solidFill>
                  <a:srgbClr val="3660A1"/>
                </a:solidFill>
                <a:latin typeface="Arial"/>
              </a:rPr>
              <a:t>A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bette</a:t>
            </a:r>
            <a:r>
              <a:rPr lang="fr-FR" sz="1802" b="1" i="0" spc="506" baseline="0" dirty="0">
                <a:solidFill>
                  <a:srgbClr val="3660A1"/>
                </a:solidFill>
                <a:latin typeface="Arial"/>
              </a:rPr>
              <a:t>r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knowledg</a:t>
            </a:r>
            <a:r>
              <a:rPr lang="fr-FR" sz="1802" b="1" i="0" spc="449" baseline="0" dirty="0">
                <a:solidFill>
                  <a:srgbClr val="3660A1"/>
                </a:solidFill>
                <a:latin typeface="Arial"/>
              </a:rPr>
              <a:t>e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o</a:t>
            </a:r>
            <a:r>
              <a:rPr lang="fr-FR" sz="1802" b="1" i="0" spc="486" baseline="0" dirty="0">
                <a:solidFill>
                  <a:srgbClr val="3660A1"/>
                </a:solidFill>
                <a:latin typeface="Arial"/>
              </a:rPr>
              <a:t>f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th</a:t>
            </a:r>
            <a:r>
              <a:rPr lang="fr-FR" sz="1802" b="1" i="0" spc="472" baseline="0" dirty="0">
                <a:solidFill>
                  <a:srgbClr val="3660A1"/>
                </a:solidFill>
                <a:latin typeface="Arial"/>
              </a:rPr>
              <a:t>e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enrollmen</a:t>
            </a:r>
            <a:r>
              <a:rPr lang="fr-FR" sz="1802" b="1" i="0" spc="522" baseline="0" dirty="0">
                <a:solidFill>
                  <a:srgbClr val="3660A1"/>
                </a:solidFill>
                <a:latin typeface="Arial"/>
              </a:rPr>
              <a:t>t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process</a:t>
            </a:r>
          </a:p>
        </p:txBody>
      </p:sp>
      <p:sp>
        <p:nvSpPr>
          <p:cNvPr id="263" name="Rectangle 263"/>
          <p:cNvSpPr/>
          <p:nvPr/>
        </p:nvSpPr>
        <p:spPr>
          <a:xfrm>
            <a:off x="2071116" y="4404688"/>
            <a:ext cx="1726790" cy="26805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Enrollmen</a:t>
            </a:r>
            <a:r>
              <a:rPr lang="fr-FR" sz="1577" b="0" i="0" spc="437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process</a:t>
            </a:r>
          </a:p>
        </p:txBody>
      </p:sp>
      <p:sp>
        <p:nvSpPr>
          <p:cNvPr id="264" name="Rectangle 264"/>
          <p:cNvSpPr/>
          <p:nvPr/>
        </p:nvSpPr>
        <p:spPr>
          <a:xfrm>
            <a:off x="2071116" y="4719394"/>
            <a:ext cx="2326037" cy="26805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Driver tree</a:t>
            </a:r>
            <a:r>
              <a:rPr lang="fr-FR" sz="1577" b="0" i="0" spc="444" baseline="0" dirty="0">
                <a:solidFill>
                  <a:srgbClr val="555555"/>
                </a:solidFill>
                <a:latin typeface="Arial"/>
              </a:rPr>
              <a:t>/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Issu</a:t>
            </a:r>
            <a:r>
              <a:rPr lang="fr-FR" sz="1577" b="0" i="0" spc="445" baseline="0" dirty="0">
                <a:solidFill>
                  <a:srgbClr val="555555"/>
                </a:solidFill>
                <a:latin typeface="Arial"/>
              </a:rPr>
              <a:t>e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analysis</a:t>
            </a:r>
          </a:p>
        </p:txBody>
      </p:sp>
      <p:sp>
        <p:nvSpPr>
          <p:cNvPr id="265" name="Rectangle 265"/>
          <p:cNvSpPr/>
          <p:nvPr/>
        </p:nvSpPr>
        <p:spPr>
          <a:xfrm>
            <a:off x="2071116" y="5421857"/>
            <a:ext cx="4736884" cy="63398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5714"/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Ke</a:t>
            </a:r>
            <a:r>
              <a:rPr lang="fr-FR" sz="1802" b="1" i="0" spc="462" baseline="0" dirty="0">
                <a:solidFill>
                  <a:srgbClr val="3660A1"/>
                </a:solidFill>
                <a:latin typeface="Arial"/>
              </a:rPr>
              <a:t>y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tip</a:t>
            </a:r>
            <a:r>
              <a:rPr lang="fr-FR" sz="1802" b="1" i="0" spc="511" baseline="0" dirty="0">
                <a:solidFill>
                  <a:srgbClr val="3660A1"/>
                </a:solidFill>
                <a:latin typeface="Arial"/>
              </a:rPr>
              <a:t>s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t</a:t>
            </a:r>
            <a:r>
              <a:rPr lang="fr-FR" sz="1802" b="1" i="0" spc="493" baseline="0" dirty="0">
                <a:solidFill>
                  <a:srgbClr val="3660A1"/>
                </a:solidFill>
                <a:latin typeface="Arial"/>
              </a:rPr>
              <a:t>o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b</a:t>
            </a:r>
            <a:r>
              <a:rPr lang="fr-FR" sz="1802" b="1" i="0" spc="463" baseline="0" dirty="0">
                <a:solidFill>
                  <a:srgbClr val="3660A1"/>
                </a:solidFill>
                <a:latin typeface="Arial"/>
              </a:rPr>
              <a:t>e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successfu</a:t>
            </a:r>
            <a:r>
              <a:rPr lang="fr-FR" sz="1802" b="1" i="0" spc="493" baseline="0" dirty="0">
                <a:solidFill>
                  <a:srgbClr val="3660A1"/>
                </a:solidFill>
                <a:latin typeface="Arial"/>
              </a:rPr>
              <a:t>l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at you</a:t>
            </a:r>
            <a:r>
              <a:rPr lang="fr-FR" sz="1802" b="1" i="0" spc="512" baseline="0" dirty="0">
                <a:solidFill>
                  <a:srgbClr val="3660A1"/>
                </a:solidFill>
                <a:latin typeface="Arial"/>
              </a:rPr>
              <a:t>r</a:t>
            </a:r>
            <a:r>
              <a:rPr lang="fr-FR" sz="1802" b="1" i="0" spc="0" baseline="0" dirty="0">
                <a:solidFill>
                  <a:srgbClr val="3660A1"/>
                </a:solidFill>
                <a:latin typeface="Arial"/>
              </a:rPr>
              <a:t>interviews</a:t>
            </a:r>
          </a:p>
          <a:p>
            <a:pPr marL="0">
              <a:lnSpc>
                <a:spcPts val="2580"/>
              </a:lnSpc>
            </a:pP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Tip</a:t>
            </a:r>
            <a:r>
              <a:rPr lang="fr-FR" sz="1577" b="0" i="0" spc="427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577" b="0" i="0" spc="455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succee</a:t>
            </a:r>
            <a:r>
              <a:rPr lang="fr-FR" sz="1577" b="0" i="0" spc="453" baseline="0" dirty="0">
                <a:solidFill>
                  <a:srgbClr val="555555"/>
                </a:solidFill>
                <a:latin typeface="Arial"/>
              </a:rPr>
              <a:t>d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a</a:t>
            </a:r>
            <a:r>
              <a:rPr lang="fr-FR" sz="1577" b="0" i="0" spc="446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case cracking </a:t>
            </a:r>
          </a:p>
        </p:txBody>
      </p:sp>
      <p:sp>
        <p:nvSpPr>
          <p:cNvPr id="266" name="Rectangle 266"/>
          <p:cNvSpPr/>
          <p:nvPr/>
        </p:nvSpPr>
        <p:spPr>
          <a:xfrm>
            <a:off x="2071116" y="6102424"/>
            <a:ext cx="2360344" cy="26805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Tip</a:t>
            </a:r>
            <a:r>
              <a:rPr lang="fr-FR" sz="1577" b="0" i="0" spc="427" baseline="0" dirty="0">
                <a:solidFill>
                  <a:srgbClr val="555555"/>
                </a:solidFill>
                <a:latin typeface="Arial"/>
              </a:rPr>
              <a:t>s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t</a:t>
            </a:r>
            <a:r>
              <a:rPr lang="fr-FR" sz="1577" b="0" i="0" spc="460" baseline="0" dirty="0">
                <a:solidFill>
                  <a:srgbClr val="555555"/>
                </a:solidFill>
                <a:latin typeface="Arial"/>
              </a:rPr>
              <a:t>o</a:t>
            </a:r>
            <a:r>
              <a:rPr lang="fr-FR" sz="1577" b="0" i="0" spc="446" baseline="0" dirty="0">
                <a:solidFill>
                  <a:srgbClr val="555555"/>
                </a:solidFill>
                <a:latin typeface="Arial"/>
              </a:rPr>
              <a:t>a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good "fit</a:t>
            </a:r>
            <a:r>
              <a:rPr lang="fr-FR" sz="1577" b="0" i="0" spc="454" baseline="0" dirty="0">
                <a:solidFill>
                  <a:srgbClr val="555555"/>
                </a:solidFill>
                <a:latin typeface="Arial"/>
              </a:rPr>
              <a:t>"</a:t>
            </a:r>
            <a:r>
              <a:rPr lang="fr-FR" sz="1577" b="0" i="0" spc="0" baseline="0" dirty="0">
                <a:solidFill>
                  <a:srgbClr val="555555"/>
                </a:solidFill>
                <a:latin typeface="Arial"/>
              </a:rPr>
              <a:t>session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Freeform 300"/>
          <p:cNvSpPr/>
          <p:nvPr/>
        </p:nvSpPr>
        <p:spPr>
          <a:xfrm>
            <a:off x="666750" y="1143030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01" name="Freeform 301"/>
          <p:cNvSpPr/>
          <p:nvPr/>
        </p:nvSpPr>
        <p:spPr>
          <a:xfrm>
            <a:off x="671512" y="1147729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noFill/>
          <a:ln w="10666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20" name="Rectangle 320"/>
          <p:cNvSpPr/>
          <p:nvPr/>
        </p:nvSpPr>
        <p:spPr>
          <a:xfrm>
            <a:off x="630555" y="488768"/>
            <a:ext cx="6155531" cy="55463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 err="1">
                <a:solidFill>
                  <a:srgbClr val="466CAD"/>
                </a:solidFill>
                <a:latin typeface="Arial"/>
              </a:rPr>
              <a:t>What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 </a:t>
            </a:r>
            <a:r>
              <a:rPr lang="fr-FR" sz="3604" b="1" i="0" spc="0" baseline="0" dirty="0" err="1">
                <a:solidFill>
                  <a:srgbClr val="466CAD"/>
                </a:solidFill>
                <a:latin typeface="Arial"/>
              </a:rPr>
              <a:t>does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 a consultant do?</a:t>
            </a:r>
          </a:p>
        </p:txBody>
      </p:sp>
      <p:sp>
        <p:nvSpPr>
          <p:cNvPr id="2" name="Rectangle 319">
            <a:extLst>
              <a:ext uri="{FF2B5EF4-FFF2-40B4-BE49-F238E27FC236}">
                <a16:creationId xmlns:a16="http://schemas.microsoft.com/office/drawing/2014/main" id="{81868EA3-7489-1B6C-4E0D-CDB08725D726}"/>
              </a:ext>
            </a:extLst>
          </p:cNvPr>
          <p:cNvSpPr/>
          <p:nvPr/>
        </p:nvSpPr>
        <p:spPr>
          <a:xfrm>
            <a:off x="11489055" y="6397333"/>
            <a:ext cx="68846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6</a:t>
            </a:r>
          </a:p>
        </p:txBody>
      </p:sp>
      <p:pic>
        <p:nvPicPr>
          <p:cNvPr id="5122" name="Picture 2" descr="Client - Free marketing icons">
            <a:extLst>
              <a:ext uri="{FF2B5EF4-FFF2-40B4-BE49-F238E27FC236}">
                <a16:creationId xmlns:a16="http://schemas.microsoft.com/office/drawing/2014/main" id="{01D6C892-B2BF-8D6A-C390-F99F8FE4A0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456" y="2243539"/>
            <a:ext cx="840788" cy="840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Consultant Tech Support Icon Illustration par mirazhosen10 · Creative  Fabrica">
            <a:extLst>
              <a:ext uri="{FF2B5EF4-FFF2-40B4-BE49-F238E27FC236}">
                <a16:creationId xmlns:a16="http://schemas.microsoft.com/office/drawing/2014/main" id="{E2A2B678-83E1-007F-F3EA-4514E3B45A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28" t="21995" r="30957" b="21633"/>
          <a:stretch/>
        </p:blipFill>
        <p:spPr bwMode="auto">
          <a:xfrm>
            <a:off x="5987929" y="2385564"/>
            <a:ext cx="604068" cy="562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6456B31-F8CA-2781-7F8F-D9B66ED45F28}"/>
              </a:ext>
            </a:extLst>
          </p:cNvPr>
          <p:cNvSpPr txBox="1"/>
          <p:nvPr/>
        </p:nvSpPr>
        <p:spPr>
          <a:xfrm>
            <a:off x="314036" y="4399936"/>
            <a:ext cx="185651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i="0" spc="0" baseline="0" dirty="0">
                <a:solidFill>
                  <a:srgbClr val="555555"/>
                </a:solidFill>
                <a:latin typeface="Arial"/>
              </a:rPr>
              <a:t>Context:</a:t>
            </a:r>
          </a:p>
          <a:p>
            <a:pPr marL="176213" algn="l"/>
            <a:endParaRPr lang="en-US" sz="1200" b="0" i="0" spc="0" baseline="0" dirty="0">
              <a:solidFill>
                <a:srgbClr val="555555"/>
              </a:solidFill>
              <a:latin typeface="Arial"/>
            </a:endParaRPr>
          </a:p>
          <a:p>
            <a:pPr marL="176213" algn="l"/>
            <a:r>
              <a:rPr lang="en-US" sz="1200" b="0" i="0" spc="0" baseline="0" dirty="0">
                <a:solidFill>
                  <a:srgbClr val="555555"/>
                </a:solidFill>
                <a:latin typeface="Arial"/>
              </a:rPr>
              <a:t>Specific industry / clientele</a:t>
            </a:r>
          </a:p>
          <a:p>
            <a:pPr marL="176213" algn="l"/>
            <a:r>
              <a:rPr lang="en-US" sz="1200" dirty="0">
                <a:solidFill>
                  <a:srgbClr val="555555"/>
                </a:solidFill>
                <a:latin typeface="Arial"/>
              </a:rPr>
              <a:t>Specific organization</a:t>
            </a:r>
          </a:p>
          <a:p>
            <a:pPr marL="176213" algn="l"/>
            <a:r>
              <a:rPr lang="en-US" sz="1200" dirty="0">
                <a:solidFill>
                  <a:srgbClr val="555555"/>
                </a:solidFill>
                <a:latin typeface="Arial"/>
              </a:rPr>
              <a:t>Specific culture / ways of working</a:t>
            </a:r>
          </a:p>
          <a:p>
            <a:pPr marL="176213" algn="l"/>
            <a:r>
              <a:rPr lang="en-US" sz="1200" dirty="0">
                <a:solidFill>
                  <a:srgbClr val="555555"/>
                </a:solidFill>
                <a:latin typeface="Arial"/>
              </a:rPr>
              <a:t>Specific IT landscape</a:t>
            </a:r>
          </a:p>
          <a:p>
            <a:pPr marL="176213" algn="l"/>
            <a:r>
              <a:rPr lang="en-US" sz="1200" dirty="0">
                <a:solidFill>
                  <a:srgbClr val="555555"/>
                </a:solidFill>
                <a:latin typeface="Arial"/>
              </a:rPr>
              <a:t> </a:t>
            </a:r>
          </a:p>
          <a:p>
            <a:pPr marL="360363" indent="-184150" algn="l">
              <a:buFont typeface="Arial" panose="020B0604020202020204" pitchFamily="34" charset="0"/>
              <a:buChar char="•"/>
            </a:pPr>
            <a:endParaRPr lang="en-US" sz="1200" b="0" i="0" spc="0" baseline="0" dirty="0">
              <a:solidFill>
                <a:srgbClr val="555555"/>
              </a:solidFill>
              <a:latin typeface="Arial"/>
            </a:endParaRPr>
          </a:p>
        </p:txBody>
      </p:sp>
      <p:sp>
        <p:nvSpPr>
          <p:cNvPr id="6" name="Freeform 431">
            <a:extLst>
              <a:ext uri="{FF2B5EF4-FFF2-40B4-BE49-F238E27FC236}">
                <a16:creationId xmlns:a16="http://schemas.microsoft.com/office/drawing/2014/main" id="{0AA5AB60-B29D-35F3-9A35-23F7773BFFC4}"/>
              </a:ext>
            </a:extLst>
          </p:cNvPr>
          <p:cNvSpPr/>
          <p:nvPr/>
        </p:nvSpPr>
        <p:spPr>
          <a:xfrm>
            <a:off x="359882" y="4869519"/>
            <a:ext cx="148337" cy="57532"/>
          </a:xfrm>
          <a:custGeom>
            <a:avLst/>
            <a:gdLst/>
            <a:ahLst/>
            <a:cxnLst/>
            <a:rect l="0" t="0" r="0" b="0"/>
            <a:pathLst>
              <a:path w="148337" h="57532">
                <a:moveTo>
                  <a:pt x="148337" y="28829"/>
                </a:moveTo>
                <a:lnTo>
                  <a:pt x="141479" y="9017"/>
                </a:lnTo>
                <a:lnTo>
                  <a:pt x="120650" y="0"/>
                </a:lnTo>
                <a:lnTo>
                  <a:pt x="27687" y="0"/>
                </a:lnTo>
                <a:lnTo>
                  <a:pt x="6986" y="9017"/>
                </a:lnTo>
                <a:lnTo>
                  <a:pt x="0" y="28829"/>
                </a:lnTo>
                <a:lnTo>
                  <a:pt x="6986" y="48641"/>
                </a:lnTo>
                <a:lnTo>
                  <a:pt x="27687" y="57532"/>
                </a:lnTo>
                <a:lnTo>
                  <a:pt x="120650" y="57532"/>
                </a:lnTo>
                <a:lnTo>
                  <a:pt x="141479" y="48641"/>
                </a:lnTo>
                <a:lnTo>
                  <a:pt x="148337" y="28829"/>
                </a:lnTo>
                <a:close/>
                <a:moveTo>
                  <a:pt x="-3940936" y="2026539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4" name="Freeform 431">
            <a:extLst>
              <a:ext uri="{FF2B5EF4-FFF2-40B4-BE49-F238E27FC236}">
                <a16:creationId xmlns:a16="http://schemas.microsoft.com/office/drawing/2014/main" id="{6E346637-A643-C2B5-1EF0-A2874FBB1EA8}"/>
              </a:ext>
            </a:extLst>
          </p:cNvPr>
          <p:cNvSpPr/>
          <p:nvPr/>
        </p:nvSpPr>
        <p:spPr>
          <a:xfrm>
            <a:off x="359882" y="5211266"/>
            <a:ext cx="148337" cy="57532"/>
          </a:xfrm>
          <a:custGeom>
            <a:avLst/>
            <a:gdLst/>
            <a:ahLst/>
            <a:cxnLst/>
            <a:rect l="0" t="0" r="0" b="0"/>
            <a:pathLst>
              <a:path w="148337" h="57532">
                <a:moveTo>
                  <a:pt x="148337" y="28829"/>
                </a:moveTo>
                <a:lnTo>
                  <a:pt x="141479" y="9017"/>
                </a:lnTo>
                <a:lnTo>
                  <a:pt x="120650" y="0"/>
                </a:lnTo>
                <a:lnTo>
                  <a:pt x="27687" y="0"/>
                </a:lnTo>
                <a:lnTo>
                  <a:pt x="6986" y="9017"/>
                </a:lnTo>
                <a:lnTo>
                  <a:pt x="0" y="28829"/>
                </a:lnTo>
                <a:lnTo>
                  <a:pt x="6986" y="48641"/>
                </a:lnTo>
                <a:lnTo>
                  <a:pt x="27687" y="57532"/>
                </a:lnTo>
                <a:lnTo>
                  <a:pt x="120650" y="57532"/>
                </a:lnTo>
                <a:lnTo>
                  <a:pt x="141479" y="48641"/>
                </a:lnTo>
                <a:lnTo>
                  <a:pt x="148337" y="28829"/>
                </a:lnTo>
                <a:close/>
                <a:moveTo>
                  <a:pt x="-3940936" y="2026539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5" name="Freeform 431">
            <a:extLst>
              <a:ext uri="{FF2B5EF4-FFF2-40B4-BE49-F238E27FC236}">
                <a16:creationId xmlns:a16="http://schemas.microsoft.com/office/drawing/2014/main" id="{C6E2C01A-20DF-CA72-0136-08853C22AD0C}"/>
              </a:ext>
            </a:extLst>
          </p:cNvPr>
          <p:cNvSpPr/>
          <p:nvPr/>
        </p:nvSpPr>
        <p:spPr>
          <a:xfrm>
            <a:off x="359882" y="5405230"/>
            <a:ext cx="148337" cy="57532"/>
          </a:xfrm>
          <a:custGeom>
            <a:avLst/>
            <a:gdLst/>
            <a:ahLst/>
            <a:cxnLst/>
            <a:rect l="0" t="0" r="0" b="0"/>
            <a:pathLst>
              <a:path w="148337" h="57532">
                <a:moveTo>
                  <a:pt x="148337" y="28829"/>
                </a:moveTo>
                <a:lnTo>
                  <a:pt x="141479" y="9017"/>
                </a:lnTo>
                <a:lnTo>
                  <a:pt x="120650" y="0"/>
                </a:lnTo>
                <a:lnTo>
                  <a:pt x="27687" y="0"/>
                </a:lnTo>
                <a:lnTo>
                  <a:pt x="6986" y="9017"/>
                </a:lnTo>
                <a:lnTo>
                  <a:pt x="0" y="28829"/>
                </a:lnTo>
                <a:lnTo>
                  <a:pt x="6986" y="48641"/>
                </a:lnTo>
                <a:lnTo>
                  <a:pt x="27687" y="57532"/>
                </a:lnTo>
                <a:lnTo>
                  <a:pt x="120650" y="57532"/>
                </a:lnTo>
                <a:lnTo>
                  <a:pt x="141479" y="48641"/>
                </a:lnTo>
                <a:lnTo>
                  <a:pt x="148337" y="28829"/>
                </a:lnTo>
                <a:close/>
                <a:moveTo>
                  <a:pt x="-3940936" y="2026539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1" name="Freeform 431">
            <a:extLst>
              <a:ext uri="{FF2B5EF4-FFF2-40B4-BE49-F238E27FC236}">
                <a16:creationId xmlns:a16="http://schemas.microsoft.com/office/drawing/2014/main" id="{E89C73A1-6824-FD0F-1842-85EAD2AF3767}"/>
              </a:ext>
            </a:extLst>
          </p:cNvPr>
          <p:cNvSpPr/>
          <p:nvPr/>
        </p:nvSpPr>
        <p:spPr>
          <a:xfrm>
            <a:off x="359882" y="5756211"/>
            <a:ext cx="148337" cy="57532"/>
          </a:xfrm>
          <a:custGeom>
            <a:avLst/>
            <a:gdLst/>
            <a:ahLst/>
            <a:cxnLst/>
            <a:rect l="0" t="0" r="0" b="0"/>
            <a:pathLst>
              <a:path w="148337" h="57532">
                <a:moveTo>
                  <a:pt x="148337" y="28829"/>
                </a:moveTo>
                <a:lnTo>
                  <a:pt x="141479" y="9017"/>
                </a:lnTo>
                <a:lnTo>
                  <a:pt x="120650" y="0"/>
                </a:lnTo>
                <a:lnTo>
                  <a:pt x="27687" y="0"/>
                </a:lnTo>
                <a:lnTo>
                  <a:pt x="6986" y="9017"/>
                </a:lnTo>
                <a:lnTo>
                  <a:pt x="0" y="28829"/>
                </a:lnTo>
                <a:lnTo>
                  <a:pt x="6986" y="48641"/>
                </a:lnTo>
                <a:lnTo>
                  <a:pt x="27687" y="57532"/>
                </a:lnTo>
                <a:lnTo>
                  <a:pt x="120650" y="57532"/>
                </a:lnTo>
                <a:lnTo>
                  <a:pt x="141479" y="48641"/>
                </a:lnTo>
                <a:lnTo>
                  <a:pt x="148337" y="28829"/>
                </a:lnTo>
                <a:close/>
                <a:moveTo>
                  <a:pt x="-3940936" y="2026539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grpSp>
        <p:nvGrpSpPr>
          <p:cNvPr id="314" name="Group 313">
            <a:extLst>
              <a:ext uri="{FF2B5EF4-FFF2-40B4-BE49-F238E27FC236}">
                <a16:creationId xmlns:a16="http://schemas.microsoft.com/office/drawing/2014/main" id="{2516F616-9538-D7D2-2A14-D8F885FD5C95}"/>
              </a:ext>
            </a:extLst>
          </p:cNvPr>
          <p:cNvGrpSpPr/>
          <p:nvPr/>
        </p:nvGrpSpPr>
        <p:grpSpPr>
          <a:xfrm>
            <a:off x="2687780" y="4399936"/>
            <a:ext cx="2355273" cy="1938992"/>
            <a:chOff x="2687780" y="3597151"/>
            <a:chExt cx="2355273" cy="1938992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237BE60-E0B5-F1D4-03A9-8876332028F0}"/>
                </a:ext>
              </a:extLst>
            </p:cNvPr>
            <p:cNvSpPr txBox="1"/>
            <p:nvPr/>
          </p:nvSpPr>
          <p:spPr>
            <a:xfrm>
              <a:off x="2687780" y="3597151"/>
              <a:ext cx="2355273" cy="19389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 i="0" spc="0" baseline="0" dirty="0">
                  <a:solidFill>
                    <a:srgbClr val="555555"/>
                  </a:solidFill>
                  <a:latin typeface="Arial"/>
                </a:rPr>
                <a:t>Issue:</a:t>
              </a:r>
            </a:p>
            <a:p>
              <a:pPr algn="ctr"/>
              <a:endParaRPr lang="en-US" sz="1200" b="1" i="0" spc="0" baseline="0" dirty="0">
                <a:solidFill>
                  <a:srgbClr val="555555"/>
                </a:solidFill>
                <a:latin typeface="Arial"/>
              </a:endParaRPr>
            </a:p>
            <a:p>
              <a:pPr algn="l"/>
              <a:r>
                <a:rPr lang="en-US" sz="1200" b="1" dirty="0">
                  <a:solidFill>
                    <a:srgbClr val="555555"/>
                  </a:solidFill>
                  <a:latin typeface="Arial"/>
                </a:rPr>
                <a:t>New territories, </a:t>
              </a:r>
              <a:r>
                <a:rPr lang="en-US" sz="1200" dirty="0">
                  <a:solidFill>
                    <a:srgbClr val="555555"/>
                  </a:solidFill>
                  <a:latin typeface="Arial"/>
                </a:rPr>
                <a:t>e.g.</a:t>
              </a:r>
              <a:r>
                <a:rPr lang="en-US" sz="1200" b="1" dirty="0">
                  <a:solidFill>
                    <a:srgbClr val="555555"/>
                  </a:solidFill>
                  <a:latin typeface="Arial"/>
                </a:rPr>
                <a:t>:</a:t>
              </a:r>
              <a:endParaRPr lang="en-US" sz="1200" b="0" i="0" spc="0" baseline="0" dirty="0">
                <a:solidFill>
                  <a:srgbClr val="555555"/>
                </a:solidFill>
                <a:latin typeface="Arial"/>
              </a:endParaRPr>
            </a:p>
            <a:p>
              <a:pPr marL="176213" algn="l"/>
              <a:r>
                <a:rPr lang="en-US" sz="1200" b="0" i="0" spc="0" baseline="0" dirty="0">
                  <a:solidFill>
                    <a:srgbClr val="555555"/>
                  </a:solidFill>
                  <a:latin typeface="Arial"/>
                </a:rPr>
                <a:t>New country launch</a:t>
              </a:r>
            </a:p>
            <a:p>
              <a:pPr marL="176213" algn="l"/>
              <a:r>
                <a:rPr lang="en-US" sz="1200" dirty="0">
                  <a:solidFill>
                    <a:srgbClr val="555555"/>
                  </a:solidFill>
                  <a:latin typeface="Arial"/>
                </a:rPr>
                <a:t>New product</a:t>
              </a:r>
            </a:p>
            <a:p>
              <a:pPr marL="176213" algn="l"/>
              <a:r>
                <a:rPr lang="en-US" sz="1200" b="0" i="0" spc="0" baseline="0" dirty="0">
                  <a:solidFill>
                    <a:srgbClr val="555555"/>
                  </a:solidFill>
                  <a:latin typeface="Arial"/>
                </a:rPr>
                <a:t>New Business Model</a:t>
              </a:r>
            </a:p>
            <a:p>
              <a:pPr marL="176213" algn="l"/>
              <a:endParaRPr lang="en-US" sz="1200" dirty="0">
                <a:solidFill>
                  <a:srgbClr val="555555"/>
                </a:solidFill>
                <a:latin typeface="Arial"/>
              </a:endParaRPr>
            </a:p>
            <a:p>
              <a:pPr algn="l"/>
              <a:r>
                <a:rPr lang="en-US" sz="1200" b="1" i="0" spc="0" baseline="0" dirty="0">
                  <a:solidFill>
                    <a:srgbClr val="555555"/>
                  </a:solidFill>
                  <a:latin typeface="Arial"/>
                </a:rPr>
                <a:t>Better ways of working, </a:t>
              </a:r>
              <a:r>
                <a:rPr lang="en-US" sz="1200" i="0" spc="0" baseline="0" dirty="0">
                  <a:solidFill>
                    <a:srgbClr val="555555"/>
                  </a:solidFill>
                  <a:latin typeface="Arial"/>
                </a:rPr>
                <a:t>e.g.</a:t>
              </a:r>
              <a:r>
                <a:rPr lang="en-US" sz="1200" b="1" dirty="0">
                  <a:solidFill>
                    <a:srgbClr val="555555"/>
                  </a:solidFill>
                  <a:latin typeface="Arial"/>
                </a:rPr>
                <a:t>:</a:t>
              </a:r>
            </a:p>
            <a:p>
              <a:pPr marL="176213" algn="l"/>
              <a:r>
                <a:rPr lang="en-US" sz="1200" b="0" i="0" spc="0" baseline="0" dirty="0">
                  <a:solidFill>
                    <a:srgbClr val="555555"/>
                  </a:solidFill>
                  <a:latin typeface="Arial"/>
                </a:rPr>
                <a:t>Better efficiency</a:t>
              </a:r>
            </a:p>
            <a:p>
              <a:pPr marL="176213" algn="l"/>
              <a:r>
                <a:rPr lang="en-US" sz="1200" dirty="0">
                  <a:solidFill>
                    <a:srgbClr val="555555"/>
                  </a:solidFill>
                  <a:latin typeface="Arial"/>
                </a:rPr>
                <a:t>Better time-to-market</a:t>
              </a:r>
              <a:endParaRPr lang="en-US" sz="1200" b="1" i="0" spc="0" baseline="0" dirty="0">
                <a:solidFill>
                  <a:srgbClr val="555555"/>
                </a:solidFill>
                <a:latin typeface="Arial"/>
              </a:endParaRPr>
            </a:p>
          </p:txBody>
        </p:sp>
        <p:sp>
          <p:nvSpPr>
            <p:cNvPr id="25" name="Freeform 431">
              <a:extLst>
                <a:ext uri="{FF2B5EF4-FFF2-40B4-BE49-F238E27FC236}">
                  <a16:creationId xmlns:a16="http://schemas.microsoft.com/office/drawing/2014/main" id="{4526C56C-9442-23F9-B627-6B03513FD6C8}"/>
                </a:ext>
              </a:extLst>
            </p:cNvPr>
            <p:cNvSpPr/>
            <p:nvPr/>
          </p:nvSpPr>
          <p:spPr>
            <a:xfrm>
              <a:off x="2733627" y="4288407"/>
              <a:ext cx="148337" cy="57532"/>
            </a:xfrm>
            <a:custGeom>
              <a:avLst/>
              <a:gdLst/>
              <a:ahLst/>
              <a:cxnLst/>
              <a:rect l="0" t="0" r="0" b="0"/>
              <a:pathLst>
                <a:path w="148337" h="57532">
                  <a:moveTo>
                    <a:pt x="148337" y="28829"/>
                  </a:moveTo>
                  <a:lnTo>
                    <a:pt x="141479" y="9017"/>
                  </a:lnTo>
                  <a:lnTo>
                    <a:pt x="120650" y="0"/>
                  </a:lnTo>
                  <a:lnTo>
                    <a:pt x="27687" y="0"/>
                  </a:lnTo>
                  <a:lnTo>
                    <a:pt x="6986" y="9017"/>
                  </a:lnTo>
                  <a:lnTo>
                    <a:pt x="0" y="28829"/>
                  </a:lnTo>
                  <a:lnTo>
                    <a:pt x="6986" y="48641"/>
                  </a:lnTo>
                  <a:lnTo>
                    <a:pt x="27687" y="57532"/>
                  </a:lnTo>
                  <a:lnTo>
                    <a:pt x="120650" y="57532"/>
                  </a:lnTo>
                  <a:lnTo>
                    <a:pt x="141479" y="48641"/>
                  </a:lnTo>
                  <a:lnTo>
                    <a:pt x="148337" y="28829"/>
                  </a:lnTo>
                  <a:close/>
                  <a:moveTo>
                    <a:pt x="-3940936" y="2026539"/>
                  </a:moveTo>
                </a:path>
              </a:pathLst>
            </a:custGeom>
            <a:solidFill>
              <a:srgbClr val="EBBE20">
                <a:alpha val="100000"/>
              </a:srgbClr>
            </a:solidFill>
            <a:ln w="10666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051" name="Freeform 431">
              <a:extLst>
                <a:ext uri="{FF2B5EF4-FFF2-40B4-BE49-F238E27FC236}">
                  <a16:creationId xmlns:a16="http://schemas.microsoft.com/office/drawing/2014/main" id="{0EA12F16-C47D-0011-C261-CF35BBF12A23}"/>
                </a:ext>
              </a:extLst>
            </p:cNvPr>
            <p:cNvSpPr/>
            <p:nvPr/>
          </p:nvSpPr>
          <p:spPr>
            <a:xfrm>
              <a:off x="2733627" y="4454669"/>
              <a:ext cx="148337" cy="57532"/>
            </a:xfrm>
            <a:custGeom>
              <a:avLst/>
              <a:gdLst/>
              <a:ahLst/>
              <a:cxnLst/>
              <a:rect l="0" t="0" r="0" b="0"/>
              <a:pathLst>
                <a:path w="148337" h="57532">
                  <a:moveTo>
                    <a:pt x="148337" y="28829"/>
                  </a:moveTo>
                  <a:lnTo>
                    <a:pt x="141479" y="9017"/>
                  </a:lnTo>
                  <a:lnTo>
                    <a:pt x="120650" y="0"/>
                  </a:lnTo>
                  <a:lnTo>
                    <a:pt x="27687" y="0"/>
                  </a:lnTo>
                  <a:lnTo>
                    <a:pt x="6986" y="9017"/>
                  </a:lnTo>
                  <a:lnTo>
                    <a:pt x="0" y="28829"/>
                  </a:lnTo>
                  <a:lnTo>
                    <a:pt x="6986" y="48641"/>
                  </a:lnTo>
                  <a:lnTo>
                    <a:pt x="27687" y="57532"/>
                  </a:lnTo>
                  <a:lnTo>
                    <a:pt x="120650" y="57532"/>
                  </a:lnTo>
                  <a:lnTo>
                    <a:pt x="141479" y="48641"/>
                  </a:lnTo>
                  <a:lnTo>
                    <a:pt x="148337" y="28829"/>
                  </a:lnTo>
                  <a:close/>
                  <a:moveTo>
                    <a:pt x="-3940936" y="2026539"/>
                  </a:moveTo>
                </a:path>
              </a:pathLst>
            </a:custGeom>
            <a:solidFill>
              <a:srgbClr val="EBBE20">
                <a:alpha val="100000"/>
              </a:srgbClr>
            </a:solidFill>
            <a:ln w="10666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053" name="Freeform 431">
              <a:extLst>
                <a:ext uri="{FF2B5EF4-FFF2-40B4-BE49-F238E27FC236}">
                  <a16:creationId xmlns:a16="http://schemas.microsoft.com/office/drawing/2014/main" id="{0F7CD1C4-ED97-F0CE-2E6E-DC25DB7167E0}"/>
                </a:ext>
              </a:extLst>
            </p:cNvPr>
            <p:cNvSpPr/>
            <p:nvPr/>
          </p:nvSpPr>
          <p:spPr>
            <a:xfrm>
              <a:off x="2733627" y="4648633"/>
              <a:ext cx="148337" cy="57532"/>
            </a:xfrm>
            <a:custGeom>
              <a:avLst/>
              <a:gdLst/>
              <a:ahLst/>
              <a:cxnLst/>
              <a:rect l="0" t="0" r="0" b="0"/>
              <a:pathLst>
                <a:path w="148337" h="57532">
                  <a:moveTo>
                    <a:pt x="148337" y="28829"/>
                  </a:moveTo>
                  <a:lnTo>
                    <a:pt x="141479" y="9017"/>
                  </a:lnTo>
                  <a:lnTo>
                    <a:pt x="120650" y="0"/>
                  </a:lnTo>
                  <a:lnTo>
                    <a:pt x="27687" y="0"/>
                  </a:lnTo>
                  <a:lnTo>
                    <a:pt x="6986" y="9017"/>
                  </a:lnTo>
                  <a:lnTo>
                    <a:pt x="0" y="28829"/>
                  </a:lnTo>
                  <a:lnTo>
                    <a:pt x="6986" y="48641"/>
                  </a:lnTo>
                  <a:lnTo>
                    <a:pt x="27687" y="57532"/>
                  </a:lnTo>
                  <a:lnTo>
                    <a:pt x="120650" y="57532"/>
                  </a:lnTo>
                  <a:lnTo>
                    <a:pt x="141479" y="48641"/>
                  </a:lnTo>
                  <a:lnTo>
                    <a:pt x="148337" y="28829"/>
                  </a:lnTo>
                  <a:close/>
                  <a:moveTo>
                    <a:pt x="-3940936" y="2026539"/>
                  </a:moveTo>
                </a:path>
              </a:pathLst>
            </a:custGeom>
            <a:solidFill>
              <a:srgbClr val="EBBE20">
                <a:alpha val="100000"/>
              </a:srgbClr>
            </a:solidFill>
            <a:ln w="10666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055" name="Freeform 431">
              <a:extLst>
                <a:ext uri="{FF2B5EF4-FFF2-40B4-BE49-F238E27FC236}">
                  <a16:creationId xmlns:a16="http://schemas.microsoft.com/office/drawing/2014/main" id="{EE493D07-0EAE-4E8D-7C07-7821124350DA}"/>
                </a:ext>
              </a:extLst>
            </p:cNvPr>
            <p:cNvSpPr/>
            <p:nvPr/>
          </p:nvSpPr>
          <p:spPr>
            <a:xfrm>
              <a:off x="2733627" y="5175106"/>
              <a:ext cx="148337" cy="57532"/>
            </a:xfrm>
            <a:custGeom>
              <a:avLst/>
              <a:gdLst/>
              <a:ahLst/>
              <a:cxnLst/>
              <a:rect l="0" t="0" r="0" b="0"/>
              <a:pathLst>
                <a:path w="148337" h="57532">
                  <a:moveTo>
                    <a:pt x="148337" y="28829"/>
                  </a:moveTo>
                  <a:lnTo>
                    <a:pt x="141479" y="9017"/>
                  </a:lnTo>
                  <a:lnTo>
                    <a:pt x="120650" y="0"/>
                  </a:lnTo>
                  <a:lnTo>
                    <a:pt x="27687" y="0"/>
                  </a:lnTo>
                  <a:lnTo>
                    <a:pt x="6986" y="9017"/>
                  </a:lnTo>
                  <a:lnTo>
                    <a:pt x="0" y="28829"/>
                  </a:lnTo>
                  <a:lnTo>
                    <a:pt x="6986" y="48641"/>
                  </a:lnTo>
                  <a:lnTo>
                    <a:pt x="27687" y="57532"/>
                  </a:lnTo>
                  <a:lnTo>
                    <a:pt x="120650" y="57532"/>
                  </a:lnTo>
                  <a:lnTo>
                    <a:pt x="141479" y="48641"/>
                  </a:lnTo>
                  <a:lnTo>
                    <a:pt x="148337" y="28829"/>
                  </a:lnTo>
                  <a:close/>
                  <a:moveTo>
                    <a:pt x="-3940936" y="2026539"/>
                  </a:moveTo>
                </a:path>
              </a:pathLst>
            </a:custGeom>
            <a:solidFill>
              <a:srgbClr val="EBBE20">
                <a:alpha val="100000"/>
              </a:srgbClr>
            </a:solidFill>
            <a:ln w="10666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056" name="Freeform 431">
              <a:extLst>
                <a:ext uri="{FF2B5EF4-FFF2-40B4-BE49-F238E27FC236}">
                  <a16:creationId xmlns:a16="http://schemas.microsoft.com/office/drawing/2014/main" id="{2BB99378-D7AC-EE0A-D026-A06A746CB9D2}"/>
                </a:ext>
              </a:extLst>
            </p:cNvPr>
            <p:cNvSpPr/>
            <p:nvPr/>
          </p:nvSpPr>
          <p:spPr>
            <a:xfrm>
              <a:off x="2733627" y="5341360"/>
              <a:ext cx="148337" cy="57532"/>
            </a:xfrm>
            <a:custGeom>
              <a:avLst/>
              <a:gdLst/>
              <a:ahLst/>
              <a:cxnLst/>
              <a:rect l="0" t="0" r="0" b="0"/>
              <a:pathLst>
                <a:path w="148337" h="57532">
                  <a:moveTo>
                    <a:pt x="148337" y="28829"/>
                  </a:moveTo>
                  <a:lnTo>
                    <a:pt x="141479" y="9017"/>
                  </a:lnTo>
                  <a:lnTo>
                    <a:pt x="120650" y="0"/>
                  </a:lnTo>
                  <a:lnTo>
                    <a:pt x="27687" y="0"/>
                  </a:lnTo>
                  <a:lnTo>
                    <a:pt x="6986" y="9017"/>
                  </a:lnTo>
                  <a:lnTo>
                    <a:pt x="0" y="28829"/>
                  </a:lnTo>
                  <a:lnTo>
                    <a:pt x="6986" y="48641"/>
                  </a:lnTo>
                  <a:lnTo>
                    <a:pt x="27687" y="57532"/>
                  </a:lnTo>
                  <a:lnTo>
                    <a:pt x="120650" y="57532"/>
                  </a:lnTo>
                  <a:lnTo>
                    <a:pt x="141479" y="48641"/>
                  </a:lnTo>
                  <a:lnTo>
                    <a:pt x="148337" y="28829"/>
                  </a:lnTo>
                  <a:close/>
                  <a:moveTo>
                    <a:pt x="-3940936" y="2026539"/>
                  </a:moveTo>
                </a:path>
              </a:pathLst>
            </a:custGeom>
            <a:solidFill>
              <a:srgbClr val="EBBE20">
                <a:alpha val="100000"/>
              </a:srgbClr>
            </a:solidFill>
            <a:ln w="10666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grpSp>
        <p:nvGrpSpPr>
          <p:cNvPr id="313" name="Group 312">
            <a:extLst>
              <a:ext uri="{FF2B5EF4-FFF2-40B4-BE49-F238E27FC236}">
                <a16:creationId xmlns:a16="http://schemas.microsoft.com/office/drawing/2014/main" id="{8BCE49D1-2F61-F74A-2B01-DF9989400B13}"/>
              </a:ext>
            </a:extLst>
          </p:cNvPr>
          <p:cNvGrpSpPr/>
          <p:nvPr/>
        </p:nvGrpSpPr>
        <p:grpSpPr>
          <a:xfrm>
            <a:off x="5394480" y="4562295"/>
            <a:ext cx="2355273" cy="1754326"/>
            <a:chOff x="5163125" y="4705515"/>
            <a:chExt cx="2355273" cy="1754326"/>
          </a:xfrm>
        </p:grpSpPr>
        <p:sp>
          <p:nvSpPr>
            <p:cNvPr id="2072" name="TextBox 2071">
              <a:extLst>
                <a:ext uri="{FF2B5EF4-FFF2-40B4-BE49-F238E27FC236}">
                  <a16:creationId xmlns:a16="http://schemas.microsoft.com/office/drawing/2014/main" id="{765BF9D6-5A90-5B1F-C72D-FEE5260BDD3C}"/>
                </a:ext>
              </a:extLst>
            </p:cNvPr>
            <p:cNvSpPr txBox="1"/>
            <p:nvPr/>
          </p:nvSpPr>
          <p:spPr>
            <a:xfrm>
              <a:off x="5163125" y="4705515"/>
              <a:ext cx="2355273" cy="175432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i="0" spc="0" baseline="0" dirty="0">
                  <a:solidFill>
                    <a:srgbClr val="555555"/>
                  </a:solidFill>
                  <a:latin typeface="Arial"/>
                </a:rPr>
                <a:t>RFI / RFP process based on :</a:t>
              </a:r>
            </a:p>
            <a:p>
              <a:pPr algn="ctr"/>
              <a:endParaRPr lang="en-US" sz="1200" i="0" spc="0" baseline="0" dirty="0">
                <a:solidFill>
                  <a:srgbClr val="555555"/>
                </a:solidFill>
                <a:latin typeface="Arial"/>
              </a:endParaRPr>
            </a:p>
            <a:p>
              <a:pPr marL="176213" algn="l"/>
              <a:r>
                <a:rPr lang="en-US" sz="1200" b="0" i="0" spc="0" baseline="0" dirty="0">
                  <a:solidFill>
                    <a:srgbClr val="555555"/>
                  </a:solidFill>
                  <a:latin typeface="Arial"/>
                </a:rPr>
                <a:t>Method</a:t>
              </a:r>
            </a:p>
            <a:p>
              <a:pPr marL="176213" algn="l"/>
              <a:r>
                <a:rPr lang="en-US" sz="1200" dirty="0">
                  <a:solidFill>
                    <a:srgbClr val="555555"/>
                  </a:solidFill>
                  <a:latin typeface="Arial"/>
                </a:rPr>
                <a:t>Required expertise (business, technology…)</a:t>
              </a:r>
            </a:p>
            <a:p>
              <a:pPr marL="176213" algn="l"/>
              <a:r>
                <a:rPr lang="en-US" sz="1200" i="0" spc="0" baseline="0" dirty="0">
                  <a:solidFill>
                    <a:srgbClr val="555555"/>
                  </a:solidFill>
                  <a:latin typeface="Arial"/>
                </a:rPr>
                <a:t>Tools</a:t>
              </a:r>
            </a:p>
            <a:p>
              <a:pPr marL="176213" algn="l"/>
              <a:r>
                <a:rPr lang="en-US" sz="1200" dirty="0">
                  <a:solidFill>
                    <a:srgbClr val="555555"/>
                  </a:solidFill>
                  <a:latin typeface="Arial"/>
                </a:rPr>
                <a:t>Relevant experience and credentials</a:t>
              </a:r>
            </a:p>
            <a:p>
              <a:pPr marL="176213" algn="l"/>
              <a:r>
                <a:rPr lang="en-US" sz="1200" i="0" spc="0" baseline="0" dirty="0">
                  <a:solidFill>
                    <a:srgbClr val="555555"/>
                  </a:solidFill>
                  <a:latin typeface="Arial"/>
                </a:rPr>
                <a:t>Pricing</a:t>
              </a:r>
            </a:p>
          </p:txBody>
        </p:sp>
        <p:sp>
          <p:nvSpPr>
            <p:cNvPr id="2074" name="Freeform 431">
              <a:extLst>
                <a:ext uri="{FF2B5EF4-FFF2-40B4-BE49-F238E27FC236}">
                  <a16:creationId xmlns:a16="http://schemas.microsoft.com/office/drawing/2014/main" id="{F39EDF34-8B14-78AB-9205-3DD82731B90C}"/>
                </a:ext>
              </a:extLst>
            </p:cNvPr>
            <p:cNvSpPr/>
            <p:nvPr/>
          </p:nvSpPr>
          <p:spPr>
            <a:xfrm>
              <a:off x="5181264" y="5198724"/>
              <a:ext cx="148337" cy="57532"/>
            </a:xfrm>
            <a:custGeom>
              <a:avLst/>
              <a:gdLst/>
              <a:ahLst/>
              <a:cxnLst/>
              <a:rect l="0" t="0" r="0" b="0"/>
              <a:pathLst>
                <a:path w="148337" h="57532">
                  <a:moveTo>
                    <a:pt x="148337" y="28829"/>
                  </a:moveTo>
                  <a:lnTo>
                    <a:pt x="141479" y="9017"/>
                  </a:lnTo>
                  <a:lnTo>
                    <a:pt x="120650" y="0"/>
                  </a:lnTo>
                  <a:lnTo>
                    <a:pt x="27687" y="0"/>
                  </a:lnTo>
                  <a:lnTo>
                    <a:pt x="6986" y="9017"/>
                  </a:lnTo>
                  <a:lnTo>
                    <a:pt x="0" y="28829"/>
                  </a:lnTo>
                  <a:lnTo>
                    <a:pt x="6986" y="48641"/>
                  </a:lnTo>
                  <a:lnTo>
                    <a:pt x="27687" y="57532"/>
                  </a:lnTo>
                  <a:lnTo>
                    <a:pt x="120650" y="57532"/>
                  </a:lnTo>
                  <a:lnTo>
                    <a:pt x="141479" y="48641"/>
                  </a:lnTo>
                  <a:lnTo>
                    <a:pt x="148337" y="28829"/>
                  </a:lnTo>
                  <a:close/>
                  <a:moveTo>
                    <a:pt x="-3940936" y="2026539"/>
                  </a:moveTo>
                </a:path>
              </a:pathLst>
            </a:custGeom>
            <a:solidFill>
              <a:srgbClr val="EBBE20">
                <a:alpha val="100000"/>
              </a:srgbClr>
            </a:solidFill>
            <a:ln w="10666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075" name="Freeform 431">
              <a:extLst>
                <a:ext uri="{FF2B5EF4-FFF2-40B4-BE49-F238E27FC236}">
                  <a16:creationId xmlns:a16="http://schemas.microsoft.com/office/drawing/2014/main" id="{DD9DE382-306B-7F85-820D-6CE42D11EF1A}"/>
                </a:ext>
              </a:extLst>
            </p:cNvPr>
            <p:cNvSpPr/>
            <p:nvPr/>
          </p:nvSpPr>
          <p:spPr>
            <a:xfrm>
              <a:off x="5181264" y="5364978"/>
              <a:ext cx="148337" cy="57532"/>
            </a:xfrm>
            <a:custGeom>
              <a:avLst/>
              <a:gdLst/>
              <a:ahLst/>
              <a:cxnLst/>
              <a:rect l="0" t="0" r="0" b="0"/>
              <a:pathLst>
                <a:path w="148337" h="57532">
                  <a:moveTo>
                    <a:pt x="148337" y="28829"/>
                  </a:moveTo>
                  <a:lnTo>
                    <a:pt x="141479" y="9017"/>
                  </a:lnTo>
                  <a:lnTo>
                    <a:pt x="120650" y="0"/>
                  </a:lnTo>
                  <a:lnTo>
                    <a:pt x="27687" y="0"/>
                  </a:lnTo>
                  <a:lnTo>
                    <a:pt x="6986" y="9017"/>
                  </a:lnTo>
                  <a:lnTo>
                    <a:pt x="0" y="28829"/>
                  </a:lnTo>
                  <a:lnTo>
                    <a:pt x="6986" y="48641"/>
                  </a:lnTo>
                  <a:lnTo>
                    <a:pt x="27687" y="57532"/>
                  </a:lnTo>
                  <a:lnTo>
                    <a:pt x="120650" y="57532"/>
                  </a:lnTo>
                  <a:lnTo>
                    <a:pt x="141479" y="48641"/>
                  </a:lnTo>
                  <a:lnTo>
                    <a:pt x="148337" y="28829"/>
                  </a:lnTo>
                  <a:close/>
                  <a:moveTo>
                    <a:pt x="-3940936" y="2026539"/>
                  </a:moveTo>
                </a:path>
              </a:pathLst>
            </a:custGeom>
            <a:solidFill>
              <a:srgbClr val="EBBE20">
                <a:alpha val="100000"/>
              </a:srgbClr>
            </a:solidFill>
            <a:ln w="10666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076" name="Freeform 431">
              <a:extLst>
                <a:ext uri="{FF2B5EF4-FFF2-40B4-BE49-F238E27FC236}">
                  <a16:creationId xmlns:a16="http://schemas.microsoft.com/office/drawing/2014/main" id="{429D5C2A-91C3-CE6D-04A8-13DF47F18930}"/>
                </a:ext>
              </a:extLst>
            </p:cNvPr>
            <p:cNvSpPr/>
            <p:nvPr/>
          </p:nvSpPr>
          <p:spPr>
            <a:xfrm>
              <a:off x="5181264" y="5751678"/>
              <a:ext cx="148337" cy="57532"/>
            </a:xfrm>
            <a:custGeom>
              <a:avLst/>
              <a:gdLst/>
              <a:ahLst/>
              <a:cxnLst/>
              <a:rect l="0" t="0" r="0" b="0"/>
              <a:pathLst>
                <a:path w="148337" h="57532">
                  <a:moveTo>
                    <a:pt x="148337" y="28829"/>
                  </a:moveTo>
                  <a:lnTo>
                    <a:pt x="141479" y="9017"/>
                  </a:lnTo>
                  <a:lnTo>
                    <a:pt x="120650" y="0"/>
                  </a:lnTo>
                  <a:lnTo>
                    <a:pt x="27687" y="0"/>
                  </a:lnTo>
                  <a:lnTo>
                    <a:pt x="6986" y="9017"/>
                  </a:lnTo>
                  <a:lnTo>
                    <a:pt x="0" y="28829"/>
                  </a:lnTo>
                  <a:lnTo>
                    <a:pt x="6986" y="48641"/>
                  </a:lnTo>
                  <a:lnTo>
                    <a:pt x="27687" y="57532"/>
                  </a:lnTo>
                  <a:lnTo>
                    <a:pt x="120650" y="57532"/>
                  </a:lnTo>
                  <a:lnTo>
                    <a:pt x="141479" y="48641"/>
                  </a:lnTo>
                  <a:lnTo>
                    <a:pt x="148337" y="28829"/>
                  </a:lnTo>
                  <a:close/>
                  <a:moveTo>
                    <a:pt x="-3940936" y="2026539"/>
                  </a:moveTo>
                </a:path>
              </a:pathLst>
            </a:custGeom>
            <a:solidFill>
              <a:srgbClr val="EBBE20">
                <a:alpha val="100000"/>
              </a:srgbClr>
            </a:solidFill>
            <a:ln w="10666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077" name="Freeform 431">
              <a:extLst>
                <a:ext uri="{FF2B5EF4-FFF2-40B4-BE49-F238E27FC236}">
                  <a16:creationId xmlns:a16="http://schemas.microsoft.com/office/drawing/2014/main" id="{F181107F-AF75-F364-E241-6AD90C67A5CA}"/>
                </a:ext>
              </a:extLst>
            </p:cNvPr>
            <p:cNvSpPr/>
            <p:nvPr/>
          </p:nvSpPr>
          <p:spPr>
            <a:xfrm>
              <a:off x="5181264" y="5946869"/>
              <a:ext cx="148337" cy="57532"/>
            </a:xfrm>
            <a:custGeom>
              <a:avLst/>
              <a:gdLst/>
              <a:ahLst/>
              <a:cxnLst/>
              <a:rect l="0" t="0" r="0" b="0"/>
              <a:pathLst>
                <a:path w="148337" h="57532">
                  <a:moveTo>
                    <a:pt x="148337" y="28829"/>
                  </a:moveTo>
                  <a:lnTo>
                    <a:pt x="141479" y="9017"/>
                  </a:lnTo>
                  <a:lnTo>
                    <a:pt x="120650" y="0"/>
                  </a:lnTo>
                  <a:lnTo>
                    <a:pt x="27687" y="0"/>
                  </a:lnTo>
                  <a:lnTo>
                    <a:pt x="6986" y="9017"/>
                  </a:lnTo>
                  <a:lnTo>
                    <a:pt x="0" y="28829"/>
                  </a:lnTo>
                  <a:lnTo>
                    <a:pt x="6986" y="48641"/>
                  </a:lnTo>
                  <a:lnTo>
                    <a:pt x="27687" y="57532"/>
                  </a:lnTo>
                  <a:lnTo>
                    <a:pt x="120650" y="57532"/>
                  </a:lnTo>
                  <a:lnTo>
                    <a:pt x="141479" y="48641"/>
                  </a:lnTo>
                  <a:lnTo>
                    <a:pt x="148337" y="28829"/>
                  </a:lnTo>
                  <a:close/>
                  <a:moveTo>
                    <a:pt x="-3940936" y="2026539"/>
                  </a:moveTo>
                </a:path>
              </a:pathLst>
            </a:custGeom>
            <a:solidFill>
              <a:srgbClr val="EBBE20">
                <a:alpha val="100000"/>
              </a:srgbClr>
            </a:solidFill>
            <a:ln w="10666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312" name="Freeform 431">
              <a:extLst>
                <a:ext uri="{FF2B5EF4-FFF2-40B4-BE49-F238E27FC236}">
                  <a16:creationId xmlns:a16="http://schemas.microsoft.com/office/drawing/2014/main" id="{6D2D1D96-882B-EF5F-126F-D5DCDB03A819}"/>
                </a:ext>
              </a:extLst>
            </p:cNvPr>
            <p:cNvSpPr/>
            <p:nvPr/>
          </p:nvSpPr>
          <p:spPr>
            <a:xfrm>
              <a:off x="5181264" y="6287365"/>
              <a:ext cx="148337" cy="57532"/>
            </a:xfrm>
            <a:custGeom>
              <a:avLst/>
              <a:gdLst/>
              <a:ahLst/>
              <a:cxnLst/>
              <a:rect l="0" t="0" r="0" b="0"/>
              <a:pathLst>
                <a:path w="148337" h="57532">
                  <a:moveTo>
                    <a:pt x="148337" y="28829"/>
                  </a:moveTo>
                  <a:lnTo>
                    <a:pt x="141479" y="9017"/>
                  </a:lnTo>
                  <a:lnTo>
                    <a:pt x="120650" y="0"/>
                  </a:lnTo>
                  <a:lnTo>
                    <a:pt x="27687" y="0"/>
                  </a:lnTo>
                  <a:lnTo>
                    <a:pt x="6986" y="9017"/>
                  </a:lnTo>
                  <a:lnTo>
                    <a:pt x="0" y="28829"/>
                  </a:lnTo>
                  <a:lnTo>
                    <a:pt x="6986" y="48641"/>
                  </a:lnTo>
                  <a:lnTo>
                    <a:pt x="27687" y="57532"/>
                  </a:lnTo>
                  <a:lnTo>
                    <a:pt x="120650" y="57532"/>
                  </a:lnTo>
                  <a:lnTo>
                    <a:pt x="141479" y="48641"/>
                  </a:lnTo>
                  <a:lnTo>
                    <a:pt x="148337" y="28829"/>
                  </a:lnTo>
                  <a:close/>
                  <a:moveTo>
                    <a:pt x="-3940936" y="2026539"/>
                  </a:moveTo>
                </a:path>
              </a:pathLst>
            </a:custGeom>
            <a:solidFill>
              <a:srgbClr val="EBBE20">
                <a:alpha val="100000"/>
              </a:srgbClr>
            </a:solidFill>
            <a:ln w="10666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sp>
        <p:nvSpPr>
          <p:cNvPr id="2058" name="Freeform 368">
            <a:extLst>
              <a:ext uri="{FF2B5EF4-FFF2-40B4-BE49-F238E27FC236}">
                <a16:creationId xmlns:a16="http://schemas.microsoft.com/office/drawing/2014/main" id="{2A25E505-A412-128F-FCB5-C3C824689523}"/>
              </a:ext>
            </a:extLst>
          </p:cNvPr>
          <p:cNvSpPr/>
          <p:nvPr/>
        </p:nvSpPr>
        <p:spPr>
          <a:xfrm rot="5400000">
            <a:off x="2341509" y="2127340"/>
            <a:ext cx="190246" cy="1074954"/>
          </a:xfrm>
          <a:custGeom>
            <a:avLst/>
            <a:gdLst/>
            <a:ahLst/>
            <a:cxnLst/>
            <a:rect l="0" t="0" r="0" b="0"/>
            <a:pathLst>
              <a:path w="380492" h="2428800">
                <a:moveTo>
                  <a:pt x="380492" y="243078"/>
                </a:moveTo>
                <a:lnTo>
                  <a:pt x="378841" y="216281"/>
                </a:lnTo>
                <a:lnTo>
                  <a:pt x="356996" y="196724"/>
                </a:lnTo>
                <a:lnTo>
                  <a:pt x="314959" y="176403"/>
                </a:lnTo>
                <a:lnTo>
                  <a:pt x="279400" y="148083"/>
                </a:lnTo>
                <a:lnTo>
                  <a:pt x="250697" y="113030"/>
                </a:lnTo>
                <a:lnTo>
                  <a:pt x="229616" y="72645"/>
                </a:lnTo>
                <a:lnTo>
                  <a:pt x="222250" y="47499"/>
                </a:lnTo>
                <a:lnTo>
                  <a:pt x="216661" y="28195"/>
                </a:lnTo>
                <a:lnTo>
                  <a:pt x="207771" y="11430"/>
                </a:lnTo>
                <a:lnTo>
                  <a:pt x="191643" y="3683"/>
                </a:lnTo>
                <a:lnTo>
                  <a:pt x="189865" y="3811"/>
                </a:lnTo>
                <a:lnTo>
                  <a:pt x="188214" y="1778"/>
                </a:lnTo>
                <a:lnTo>
                  <a:pt x="161670" y="0"/>
                </a:lnTo>
                <a:lnTo>
                  <a:pt x="139954" y="14733"/>
                </a:lnTo>
                <a:lnTo>
                  <a:pt x="138048" y="28575"/>
                </a:lnTo>
                <a:lnTo>
                  <a:pt x="119126" y="45974"/>
                </a:lnTo>
                <a:lnTo>
                  <a:pt x="86359" y="83186"/>
                </a:lnTo>
                <a:lnTo>
                  <a:pt x="57911" y="123445"/>
                </a:lnTo>
                <a:lnTo>
                  <a:pt x="33908" y="166498"/>
                </a:lnTo>
                <a:lnTo>
                  <a:pt x="14605" y="211964"/>
                </a:lnTo>
                <a:lnTo>
                  <a:pt x="0" y="259589"/>
                </a:lnTo>
                <a:lnTo>
                  <a:pt x="4698" y="287783"/>
                </a:lnTo>
                <a:lnTo>
                  <a:pt x="26669" y="302896"/>
                </a:lnTo>
                <a:lnTo>
                  <a:pt x="52578" y="300990"/>
                </a:lnTo>
                <a:lnTo>
                  <a:pt x="69595" y="278765"/>
                </a:lnTo>
                <a:lnTo>
                  <a:pt x="85725" y="228600"/>
                </a:lnTo>
                <a:lnTo>
                  <a:pt x="107695" y="181865"/>
                </a:lnTo>
                <a:lnTo>
                  <a:pt x="135508" y="138684"/>
                </a:lnTo>
                <a:lnTo>
                  <a:pt x="154940" y="115571"/>
                </a:lnTo>
                <a:lnTo>
                  <a:pt x="160528" y="139446"/>
                </a:lnTo>
                <a:lnTo>
                  <a:pt x="170560" y="188087"/>
                </a:lnTo>
                <a:lnTo>
                  <a:pt x="179323" y="236855"/>
                </a:lnTo>
                <a:lnTo>
                  <a:pt x="186817" y="285877"/>
                </a:lnTo>
                <a:lnTo>
                  <a:pt x="193167" y="335027"/>
                </a:lnTo>
                <a:lnTo>
                  <a:pt x="198501" y="384302"/>
                </a:lnTo>
                <a:lnTo>
                  <a:pt x="202945" y="433705"/>
                </a:lnTo>
                <a:lnTo>
                  <a:pt x="206502" y="483236"/>
                </a:lnTo>
                <a:lnTo>
                  <a:pt x="209295" y="532765"/>
                </a:lnTo>
                <a:lnTo>
                  <a:pt x="211328" y="582423"/>
                </a:lnTo>
                <a:lnTo>
                  <a:pt x="212725" y="632080"/>
                </a:lnTo>
                <a:lnTo>
                  <a:pt x="213741" y="681864"/>
                </a:lnTo>
                <a:lnTo>
                  <a:pt x="214248" y="731521"/>
                </a:lnTo>
                <a:lnTo>
                  <a:pt x="214503" y="781305"/>
                </a:lnTo>
                <a:lnTo>
                  <a:pt x="214376" y="880618"/>
                </a:lnTo>
                <a:lnTo>
                  <a:pt x="208788" y="2394196"/>
                </a:lnTo>
                <a:lnTo>
                  <a:pt x="220091" y="2420152"/>
                </a:lnTo>
                <a:lnTo>
                  <a:pt x="245109" y="2428800"/>
                </a:lnTo>
                <a:lnTo>
                  <a:pt x="270002" y="2420152"/>
                </a:lnTo>
                <a:lnTo>
                  <a:pt x="281305" y="2394196"/>
                </a:lnTo>
                <a:lnTo>
                  <a:pt x="284988" y="1447356"/>
                </a:lnTo>
                <a:lnTo>
                  <a:pt x="285750" y="1344626"/>
                </a:lnTo>
                <a:lnTo>
                  <a:pt x="289179" y="1035939"/>
                </a:lnTo>
                <a:lnTo>
                  <a:pt x="289814" y="932942"/>
                </a:lnTo>
                <a:lnTo>
                  <a:pt x="289941" y="881381"/>
                </a:lnTo>
                <a:lnTo>
                  <a:pt x="289686" y="829945"/>
                </a:lnTo>
                <a:lnTo>
                  <a:pt x="289306" y="778511"/>
                </a:lnTo>
                <a:lnTo>
                  <a:pt x="288543" y="727075"/>
                </a:lnTo>
                <a:lnTo>
                  <a:pt x="287528" y="675640"/>
                </a:lnTo>
                <a:lnTo>
                  <a:pt x="286131" y="624205"/>
                </a:lnTo>
                <a:lnTo>
                  <a:pt x="284226" y="572771"/>
                </a:lnTo>
                <a:lnTo>
                  <a:pt x="281940" y="521462"/>
                </a:lnTo>
                <a:lnTo>
                  <a:pt x="279018" y="471171"/>
                </a:lnTo>
                <a:lnTo>
                  <a:pt x="275335" y="420752"/>
                </a:lnTo>
                <a:lnTo>
                  <a:pt x="270636" y="370586"/>
                </a:lnTo>
                <a:lnTo>
                  <a:pt x="265048" y="320421"/>
                </a:lnTo>
                <a:lnTo>
                  <a:pt x="258444" y="270383"/>
                </a:lnTo>
                <a:lnTo>
                  <a:pt x="250697" y="220599"/>
                </a:lnTo>
                <a:lnTo>
                  <a:pt x="250063" y="217678"/>
                </a:lnTo>
                <a:lnTo>
                  <a:pt x="290830" y="244983"/>
                </a:lnTo>
                <a:lnTo>
                  <a:pt x="337693" y="266193"/>
                </a:lnTo>
                <a:lnTo>
                  <a:pt x="365506" y="264033"/>
                </a:lnTo>
                <a:lnTo>
                  <a:pt x="380492" y="243078"/>
                </a:lnTo>
                <a:close/>
                <a:moveTo>
                  <a:pt x="-8025003" y="2428875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059" name="Freeform 368">
            <a:extLst>
              <a:ext uri="{FF2B5EF4-FFF2-40B4-BE49-F238E27FC236}">
                <a16:creationId xmlns:a16="http://schemas.microsoft.com/office/drawing/2014/main" id="{DEF3B4BA-D423-F06C-3A35-234CDF33D7BC}"/>
              </a:ext>
            </a:extLst>
          </p:cNvPr>
          <p:cNvSpPr/>
          <p:nvPr/>
        </p:nvSpPr>
        <p:spPr>
          <a:xfrm rot="5400000">
            <a:off x="4973872" y="2127340"/>
            <a:ext cx="190246" cy="1074954"/>
          </a:xfrm>
          <a:custGeom>
            <a:avLst/>
            <a:gdLst/>
            <a:ahLst/>
            <a:cxnLst/>
            <a:rect l="0" t="0" r="0" b="0"/>
            <a:pathLst>
              <a:path w="380492" h="2428800">
                <a:moveTo>
                  <a:pt x="380492" y="243078"/>
                </a:moveTo>
                <a:lnTo>
                  <a:pt x="378841" y="216281"/>
                </a:lnTo>
                <a:lnTo>
                  <a:pt x="356996" y="196724"/>
                </a:lnTo>
                <a:lnTo>
                  <a:pt x="314959" y="176403"/>
                </a:lnTo>
                <a:lnTo>
                  <a:pt x="279400" y="148083"/>
                </a:lnTo>
                <a:lnTo>
                  <a:pt x="250697" y="113030"/>
                </a:lnTo>
                <a:lnTo>
                  <a:pt x="229616" y="72645"/>
                </a:lnTo>
                <a:lnTo>
                  <a:pt x="222250" y="47499"/>
                </a:lnTo>
                <a:lnTo>
                  <a:pt x="216661" y="28195"/>
                </a:lnTo>
                <a:lnTo>
                  <a:pt x="207771" y="11430"/>
                </a:lnTo>
                <a:lnTo>
                  <a:pt x="191643" y="3683"/>
                </a:lnTo>
                <a:lnTo>
                  <a:pt x="189865" y="3811"/>
                </a:lnTo>
                <a:lnTo>
                  <a:pt x="188214" y="1778"/>
                </a:lnTo>
                <a:lnTo>
                  <a:pt x="161670" y="0"/>
                </a:lnTo>
                <a:lnTo>
                  <a:pt x="139954" y="14733"/>
                </a:lnTo>
                <a:lnTo>
                  <a:pt x="138048" y="28575"/>
                </a:lnTo>
                <a:lnTo>
                  <a:pt x="119126" y="45974"/>
                </a:lnTo>
                <a:lnTo>
                  <a:pt x="86359" y="83186"/>
                </a:lnTo>
                <a:lnTo>
                  <a:pt x="57911" y="123445"/>
                </a:lnTo>
                <a:lnTo>
                  <a:pt x="33908" y="166498"/>
                </a:lnTo>
                <a:lnTo>
                  <a:pt x="14605" y="211964"/>
                </a:lnTo>
                <a:lnTo>
                  <a:pt x="0" y="259589"/>
                </a:lnTo>
                <a:lnTo>
                  <a:pt x="4698" y="287783"/>
                </a:lnTo>
                <a:lnTo>
                  <a:pt x="26669" y="302896"/>
                </a:lnTo>
                <a:lnTo>
                  <a:pt x="52578" y="300990"/>
                </a:lnTo>
                <a:lnTo>
                  <a:pt x="69595" y="278765"/>
                </a:lnTo>
                <a:lnTo>
                  <a:pt x="85725" y="228600"/>
                </a:lnTo>
                <a:lnTo>
                  <a:pt x="107695" y="181865"/>
                </a:lnTo>
                <a:lnTo>
                  <a:pt x="135508" y="138684"/>
                </a:lnTo>
                <a:lnTo>
                  <a:pt x="154940" y="115571"/>
                </a:lnTo>
                <a:lnTo>
                  <a:pt x="160528" y="139446"/>
                </a:lnTo>
                <a:lnTo>
                  <a:pt x="170560" y="188087"/>
                </a:lnTo>
                <a:lnTo>
                  <a:pt x="179323" y="236855"/>
                </a:lnTo>
                <a:lnTo>
                  <a:pt x="186817" y="285877"/>
                </a:lnTo>
                <a:lnTo>
                  <a:pt x="193167" y="335027"/>
                </a:lnTo>
                <a:lnTo>
                  <a:pt x="198501" y="384302"/>
                </a:lnTo>
                <a:lnTo>
                  <a:pt x="202945" y="433705"/>
                </a:lnTo>
                <a:lnTo>
                  <a:pt x="206502" y="483236"/>
                </a:lnTo>
                <a:lnTo>
                  <a:pt x="209295" y="532765"/>
                </a:lnTo>
                <a:lnTo>
                  <a:pt x="211328" y="582423"/>
                </a:lnTo>
                <a:lnTo>
                  <a:pt x="212725" y="632080"/>
                </a:lnTo>
                <a:lnTo>
                  <a:pt x="213741" y="681864"/>
                </a:lnTo>
                <a:lnTo>
                  <a:pt x="214248" y="731521"/>
                </a:lnTo>
                <a:lnTo>
                  <a:pt x="214503" y="781305"/>
                </a:lnTo>
                <a:lnTo>
                  <a:pt x="214376" y="880618"/>
                </a:lnTo>
                <a:lnTo>
                  <a:pt x="208788" y="2394196"/>
                </a:lnTo>
                <a:lnTo>
                  <a:pt x="220091" y="2420152"/>
                </a:lnTo>
                <a:lnTo>
                  <a:pt x="245109" y="2428800"/>
                </a:lnTo>
                <a:lnTo>
                  <a:pt x="270002" y="2420152"/>
                </a:lnTo>
                <a:lnTo>
                  <a:pt x="281305" y="2394196"/>
                </a:lnTo>
                <a:lnTo>
                  <a:pt x="284988" y="1447356"/>
                </a:lnTo>
                <a:lnTo>
                  <a:pt x="285750" y="1344626"/>
                </a:lnTo>
                <a:lnTo>
                  <a:pt x="289179" y="1035939"/>
                </a:lnTo>
                <a:lnTo>
                  <a:pt x="289814" y="932942"/>
                </a:lnTo>
                <a:lnTo>
                  <a:pt x="289941" y="881381"/>
                </a:lnTo>
                <a:lnTo>
                  <a:pt x="289686" y="829945"/>
                </a:lnTo>
                <a:lnTo>
                  <a:pt x="289306" y="778511"/>
                </a:lnTo>
                <a:lnTo>
                  <a:pt x="288543" y="727075"/>
                </a:lnTo>
                <a:lnTo>
                  <a:pt x="287528" y="675640"/>
                </a:lnTo>
                <a:lnTo>
                  <a:pt x="286131" y="624205"/>
                </a:lnTo>
                <a:lnTo>
                  <a:pt x="284226" y="572771"/>
                </a:lnTo>
                <a:lnTo>
                  <a:pt x="281940" y="521462"/>
                </a:lnTo>
                <a:lnTo>
                  <a:pt x="279018" y="471171"/>
                </a:lnTo>
                <a:lnTo>
                  <a:pt x="275335" y="420752"/>
                </a:lnTo>
                <a:lnTo>
                  <a:pt x="270636" y="370586"/>
                </a:lnTo>
                <a:lnTo>
                  <a:pt x="265048" y="320421"/>
                </a:lnTo>
                <a:lnTo>
                  <a:pt x="258444" y="270383"/>
                </a:lnTo>
                <a:lnTo>
                  <a:pt x="250697" y="220599"/>
                </a:lnTo>
                <a:lnTo>
                  <a:pt x="250063" y="217678"/>
                </a:lnTo>
                <a:lnTo>
                  <a:pt x="290830" y="244983"/>
                </a:lnTo>
                <a:lnTo>
                  <a:pt x="337693" y="266193"/>
                </a:lnTo>
                <a:lnTo>
                  <a:pt x="365506" y="264033"/>
                </a:lnTo>
                <a:lnTo>
                  <a:pt x="380492" y="243078"/>
                </a:lnTo>
                <a:close/>
                <a:moveTo>
                  <a:pt x="-8025003" y="2428875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2060" name="Picture 6" descr="Consultant Tech Support Icon Illustration par mirazhosen10 · Creative  Fabrica">
            <a:extLst>
              <a:ext uri="{FF2B5EF4-FFF2-40B4-BE49-F238E27FC236}">
                <a16:creationId xmlns:a16="http://schemas.microsoft.com/office/drawing/2014/main" id="{2FC34964-848C-9CF0-F094-C49D99E05E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28" t="21995" r="30957" b="21633"/>
          <a:stretch/>
        </p:blipFill>
        <p:spPr bwMode="auto">
          <a:xfrm>
            <a:off x="5987929" y="3050582"/>
            <a:ext cx="604068" cy="562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1" name="Picture 6" descr="Consultant Tech Support Icon Illustration par mirazhosen10 · Creative  Fabrica">
            <a:extLst>
              <a:ext uri="{FF2B5EF4-FFF2-40B4-BE49-F238E27FC236}">
                <a16:creationId xmlns:a16="http://schemas.microsoft.com/office/drawing/2014/main" id="{ACD10676-C0DD-3712-CAC6-83FD2CF777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28" t="21995" r="30957" b="21633"/>
          <a:stretch/>
        </p:blipFill>
        <p:spPr bwMode="auto">
          <a:xfrm>
            <a:off x="5987929" y="3798728"/>
            <a:ext cx="604068" cy="562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62" name="Rectangle 2061">
            <a:extLst>
              <a:ext uri="{FF2B5EF4-FFF2-40B4-BE49-F238E27FC236}">
                <a16:creationId xmlns:a16="http://schemas.microsoft.com/office/drawing/2014/main" id="{18384170-82AB-D885-C531-87B86824A666}"/>
              </a:ext>
            </a:extLst>
          </p:cNvPr>
          <p:cNvSpPr/>
          <p:nvPr/>
        </p:nvSpPr>
        <p:spPr>
          <a:xfrm>
            <a:off x="5772726" y="2276707"/>
            <a:ext cx="997529" cy="2198255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3" name="Oval 2062">
            <a:extLst>
              <a:ext uri="{FF2B5EF4-FFF2-40B4-BE49-F238E27FC236}">
                <a16:creationId xmlns:a16="http://schemas.microsoft.com/office/drawing/2014/main" id="{4BD7FF3E-992B-FAE1-FB38-513FA7A774BA}"/>
              </a:ext>
            </a:extLst>
          </p:cNvPr>
          <p:cNvSpPr/>
          <p:nvPr/>
        </p:nvSpPr>
        <p:spPr>
          <a:xfrm>
            <a:off x="5933902" y="2337204"/>
            <a:ext cx="721360" cy="70104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64" name="Freeform 368">
            <a:extLst>
              <a:ext uri="{FF2B5EF4-FFF2-40B4-BE49-F238E27FC236}">
                <a16:creationId xmlns:a16="http://schemas.microsoft.com/office/drawing/2014/main" id="{D46F6E33-7ADC-8368-91D3-EB44A7A10126}"/>
              </a:ext>
            </a:extLst>
          </p:cNvPr>
          <p:cNvSpPr/>
          <p:nvPr/>
        </p:nvSpPr>
        <p:spPr>
          <a:xfrm rot="5400000">
            <a:off x="7079763" y="2127340"/>
            <a:ext cx="190246" cy="1074954"/>
          </a:xfrm>
          <a:custGeom>
            <a:avLst/>
            <a:gdLst/>
            <a:ahLst/>
            <a:cxnLst/>
            <a:rect l="0" t="0" r="0" b="0"/>
            <a:pathLst>
              <a:path w="380492" h="2428800">
                <a:moveTo>
                  <a:pt x="380492" y="243078"/>
                </a:moveTo>
                <a:lnTo>
                  <a:pt x="378841" y="216281"/>
                </a:lnTo>
                <a:lnTo>
                  <a:pt x="356996" y="196724"/>
                </a:lnTo>
                <a:lnTo>
                  <a:pt x="314959" y="176403"/>
                </a:lnTo>
                <a:lnTo>
                  <a:pt x="279400" y="148083"/>
                </a:lnTo>
                <a:lnTo>
                  <a:pt x="250697" y="113030"/>
                </a:lnTo>
                <a:lnTo>
                  <a:pt x="229616" y="72645"/>
                </a:lnTo>
                <a:lnTo>
                  <a:pt x="222250" y="47499"/>
                </a:lnTo>
                <a:lnTo>
                  <a:pt x="216661" y="28195"/>
                </a:lnTo>
                <a:lnTo>
                  <a:pt x="207771" y="11430"/>
                </a:lnTo>
                <a:lnTo>
                  <a:pt x="191643" y="3683"/>
                </a:lnTo>
                <a:lnTo>
                  <a:pt x="189865" y="3811"/>
                </a:lnTo>
                <a:lnTo>
                  <a:pt x="188214" y="1778"/>
                </a:lnTo>
                <a:lnTo>
                  <a:pt x="161670" y="0"/>
                </a:lnTo>
                <a:lnTo>
                  <a:pt x="139954" y="14733"/>
                </a:lnTo>
                <a:lnTo>
                  <a:pt x="138048" y="28575"/>
                </a:lnTo>
                <a:lnTo>
                  <a:pt x="119126" y="45974"/>
                </a:lnTo>
                <a:lnTo>
                  <a:pt x="86359" y="83186"/>
                </a:lnTo>
                <a:lnTo>
                  <a:pt x="57911" y="123445"/>
                </a:lnTo>
                <a:lnTo>
                  <a:pt x="33908" y="166498"/>
                </a:lnTo>
                <a:lnTo>
                  <a:pt x="14605" y="211964"/>
                </a:lnTo>
                <a:lnTo>
                  <a:pt x="0" y="259589"/>
                </a:lnTo>
                <a:lnTo>
                  <a:pt x="4698" y="287783"/>
                </a:lnTo>
                <a:lnTo>
                  <a:pt x="26669" y="302896"/>
                </a:lnTo>
                <a:lnTo>
                  <a:pt x="52578" y="300990"/>
                </a:lnTo>
                <a:lnTo>
                  <a:pt x="69595" y="278765"/>
                </a:lnTo>
                <a:lnTo>
                  <a:pt x="85725" y="228600"/>
                </a:lnTo>
                <a:lnTo>
                  <a:pt x="107695" y="181865"/>
                </a:lnTo>
                <a:lnTo>
                  <a:pt x="135508" y="138684"/>
                </a:lnTo>
                <a:lnTo>
                  <a:pt x="154940" y="115571"/>
                </a:lnTo>
                <a:lnTo>
                  <a:pt x="160528" y="139446"/>
                </a:lnTo>
                <a:lnTo>
                  <a:pt x="170560" y="188087"/>
                </a:lnTo>
                <a:lnTo>
                  <a:pt x="179323" y="236855"/>
                </a:lnTo>
                <a:lnTo>
                  <a:pt x="186817" y="285877"/>
                </a:lnTo>
                <a:lnTo>
                  <a:pt x="193167" y="335027"/>
                </a:lnTo>
                <a:lnTo>
                  <a:pt x="198501" y="384302"/>
                </a:lnTo>
                <a:lnTo>
                  <a:pt x="202945" y="433705"/>
                </a:lnTo>
                <a:lnTo>
                  <a:pt x="206502" y="483236"/>
                </a:lnTo>
                <a:lnTo>
                  <a:pt x="209295" y="532765"/>
                </a:lnTo>
                <a:lnTo>
                  <a:pt x="211328" y="582423"/>
                </a:lnTo>
                <a:lnTo>
                  <a:pt x="212725" y="632080"/>
                </a:lnTo>
                <a:lnTo>
                  <a:pt x="213741" y="681864"/>
                </a:lnTo>
                <a:lnTo>
                  <a:pt x="214248" y="731521"/>
                </a:lnTo>
                <a:lnTo>
                  <a:pt x="214503" y="781305"/>
                </a:lnTo>
                <a:lnTo>
                  <a:pt x="214376" y="880618"/>
                </a:lnTo>
                <a:lnTo>
                  <a:pt x="208788" y="2394196"/>
                </a:lnTo>
                <a:lnTo>
                  <a:pt x="220091" y="2420152"/>
                </a:lnTo>
                <a:lnTo>
                  <a:pt x="245109" y="2428800"/>
                </a:lnTo>
                <a:lnTo>
                  <a:pt x="270002" y="2420152"/>
                </a:lnTo>
                <a:lnTo>
                  <a:pt x="281305" y="2394196"/>
                </a:lnTo>
                <a:lnTo>
                  <a:pt x="284988" y="1447356"/>
                </a:lnTo>
                <a:lnTo>
                  <a:pt x="285750" y="1344626"/>
                </a:lnTo>
                <a:lnTo>
                  <a:pt x="289179" y="1035939"/>
                </a:lnTo>
                <a:lnTo>
                  <a:pt x="289814" y="932942"/>
                </a:lnTo>
                <a:lnTo>
                  <a:pt x="289941" y="881381"/>
                </a:lnTo>
                <a:lnTo>
                  <a:pt x="289686" y="829945"/>
                </a:lnTo>
                <a:lnTo>
                  <a:pt x="289306" y="778511"/>
                </a:lnTo>
                <a:lnTo>
                  <a:pt x="288543" y="727075"/>
                </a:lnTo>
                <a:lnTo>
                  <a:pt x="287528" y="675640"/>
                </a:lnTo>
                <a:lnTo>
                  <a:pt x="286131" y="624205"/>
                </a:lnTo>
                <a:lnTo>
                  <a:pt x="284226" y="572771"/>
                </a:lnTo>
                <a:lnTo>
                  <a:pt x="281940" y="521462"/>
                </a:lnTo>
                <a:lnTo>
                  <a:pt x="279018" y="471171"/>
                </a:lnTo>
                <a:lnTo>
                  <a:pt x="275335" y="420752"/>
                </a:lnTo>
                <a:lnTo>
                  <a:pt x="270636" y="370586"/>
                </a:lnTo>
                <a:lnTo>
                  <a:pt x="265048" y="320421"/>
                </a:lnTo>
                <a:lnTo>
                  <a:pt x="258444" y="270383"/>
                </a:lnTo>
                <a:lnTo>
                  <a:pt x="250697" y="220599"/>
                </a:lnTo>
                <a:lnTo>
                  <a:pt x="250063" y="217678"/>
                </a:lnTo>
                <a:lnTo>
                  <a:pt x="290830" y="244983"/>
                </a:lnTo>
                <a:lnTo>
                  <a:pt x="337693" y="266193"/>
                </a:lnTo>
                <a:lnTo>
                  <a:pt x="365506" y="264033"/>
                </a:lnTo>
                <a:lnTo>
                  <a:pt x="380492" y="243078"/>
                </a:lnTo>
                <a:close/>
                <a:moveTo>
                  <a:pt x="-8025003" y="2428875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071" name="TextBox 2070">
            <a:extLst>
              <a:ext uri="{FF2B5EF4-FFF2-40B4-BE49-F238E27FC236}">
                <a16:creationId xmlns:a16="http://schemas.microsoft.com/office/drawing/2014/main" id="{58EA8250-8E1F-588C-DAA3-A02F1E95023C}"/>
              </a:ext>
            </a:extLst>
          </p:cNvPr>
          <p:cNvSpPr txBox="1"/>
          <p:nvPr/>
        </p:nvSpPr>
        <p:spPr>
          <a:xfrm>
            <a:off x="5680363" y="1519327"/>
            <a:ext cx="125614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/>
              </a:rPr>
              <a:t>Pool of consulting firms</a:t>
            </a:r>
          </a:p>
        </p:txBody>
      </p:sp>
      <p:sp>
        <p:nvSpPr>
          <p:cNvPr id="2073" name="TextBox 2072">
            <a:extLst>
              <a:ext uri="{FF2B5EF4-FFF2-40B4-BE49-F238E27FC236}">
                <a16:creationId xmlns:a16="http://schemas.microsoft.com/office/drawing/2014/main" id="{423A5A6A-0E4F-4DC0-6945-6E008F4403A0}"/>
              </a:ext>
            </a:extLst>
          </p:cNvPr>
          <p:cNvSpPr txBox="1"/>
          <p:nvPr/>
        </p:nvSpPr>
        <p:spPr>
          <a:xfrm>
            <a:off x="9401617" y="1671003"/>
            <a:ext cx="125614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/>
              </a:rPr>
              <a:t>Selected firm</a:t>
            </a: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0E1BBA4F-E20E-BC9F-271B-BB17E8B74D86}"/>
              </a:ext>
            </a:extLst>
          </p:cNvPr>
          <p:cNvSpPr/>
          <p:nvPr/>
        </p:nvSpPr>
        <p:spPr>
          <a:xfrm>
            <a:off x="8240618" y="2276707"/>
            <a:ext cx="3556776" cy="2198255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6" name="Arrow: Pentagon 315">
            <a:extLst>
              <a:ext uri="{FF2B5EF4-FFF2-40B4-BE49-F238E27FC236}">
                <a16:creationId xmlns:a16="http://schemas.microsoft.com/office/drawing/2014/main" id="{C99A4C1C-4A9E-62A6-8E00-5571308546EA}"/>
              </a:ext>
            </a:extLst>
          </p:cNvPr>
          <p:cNvSpPr/>
          <p:nvPr/>
        </p:nvSpPr>
        <p:spPr>
          <a:xfrm>
            <a:off x="8681292" y="2547404"/>
            <a:ext cx="1222872" cy="281423"/>
          </a:xfrm>
          <a:prstGeom prst="homePlate">
            <a:avLst/>
          </a:prstGeom>
          <a:solidFill>
            <a:srgbClr val="4B71B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ASSESS</a:t>
            </a:r>
            <a:endParaRPr lang="en-US" b="1" dirty="0"/>
          </a:p>
        </p:txBody>
      </p:sp>
      <p:sp>
        <p:nvSpPr>
          <p:cNvPr id="317" name="Arrow: Pentagon 316">
            <a:extLst>
              <a:ext uri="{FF2B5EF4-FFF2-40B4-BE49-F238E27FC236}">
                <a16:creationId xmlns:a16="http://schemas.microsoft.com/office/drawing/2014/main" id="{DC147924-C2CC-C376-E940-D1DFD25CD62A}"/>
              </a:ext>
            </a:extLst>
          </p:cNvPr>
          <p:cNvSpPr/>
          <p:nvPr/>
        </p:nvSpPr>
        <p:spPr>
          <a:xfrm>
            <a:off x="9213774" y="2932994"/>
            <a:ext cx="1222872" cy="281423"/>
          </a:xfrm>
          <a:prstGeom prst="homePlate">
            <a:avLst/>
          </a:prstGeom>
          <a:solidFill>
            <a:srgbClr val="4B71B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DESIGN</a:t>
            </a:r>
            <a:endParaRPr lang="en-US" b="1" dirty="0"/>
          </a:p>
        </p:txBody>
      </p:sp>
      <p:sp>
        <p:nvSpPr>
          <p:cNvPr id="318" name="Arrow: Pentagon 317">
            <a:extLst>
              <a:ext uri="{FF2B5EF4-FFF2-40B4-BE49-F238E27FC236}">
                <a16:creationId xmlns:a16="http://schemas.microsoft.com/office/drawing/2014/main" id="{CDADADD0-262B-859A-08ED-FA5FCCC5F19D}"/>
              </a:ext>
            </a:extLst>
          </p:cNvPr>
          <p:cNvSpPr/>
          <p:nvPr/>
        </p:nvSpPr>
        <p:spPr>
          <a:xfrm>
            <a:off x="9746256" y="3357563"/>
            <a:ext cx="1222872" cy="281423"/>
          </a:xfrm>
          <a:prstGeom prst="homePlate">
            <a:avLst/>
          </a:prstGeom>
          <a:solidFill>
            <a:srgbClr val="4B71B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PLAN</a:t>
            </a:r>
            <a:endParaRPr lang="en-US" b="1" dirty="0"/>
          </a:p>
        </p:txBody>
      </p:sp>
      <p:sp>
        <p:nvSpPr>
          <p:cNvPr id="321" name="Arrow: Pentagon 320">
            <a:extLst>
              <a:ext uri="{FF2B5EF4-FFF2-40B4-BE49-F238E27FC236}">
                <a16:creationId xmlns:a16="http://schemas.microsoft.com/office/drawing/2014/main" id="{96F1E25F-54B7-6AFA-C406-D0B52518226C}"/>
              </a:ext>
            </a:extLst>
          </p:cNvPr>
          <p:cNvSpPr/>
          <p:nvPr/>
        </p:nvSpPr>
        <p:spPr>
          <a:xfrm>
            <a:off x="10278738" y="3809255"/>
            <a:ext cx="1222872" cy="281423"/>
          </a:xfrm>
          <a:prstGeom prst="homePlate">
            <a:avLst/>
          </a:prstGeom>
          <a:solidFill>
            <a:srgbClr val="4B71B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ACT</a:t>
            </a:r>
            <a:endParaRPr lang="en-US" b="1" dirty="0"/>
          </a:p>
        </p:txBody>
      </p:sp>
      <p:pic>
        <p:nvPicPr>
          <p:cNvPr id="322" name="Picture 6" descr="Consultant Tech Support Icon Illustration par mirazhosen10 · Creative  Fabrica">
            <a:extLst>
              <a:ext uri="{FF2B5EF4-FFF2-40B4-BE49-F238E27FC236}">
                <a16:creationId xmlns:a16="http://schemas.microsoft.com/office/drawing/2014/main" id="{BFD4AD5F-9E92-9B79-B2DF-C1C50E86EE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28" t="21995" r="30957" b="21633"/>
          <a:stretch/>
        </p:blipFill>
        <p:spPr bwMode="auto">
          <a:xfrm>
            <a:off x="7928679" y="2066075"/>
            <a:ext cx="604068" cy="562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4" name="TextBox 323">
            <a:extLst>
              <a:ext uri="{FF2B5EF4-FFF2-40B4-BE49-F238E27FC236}">
                <a16:creationId xmlns:a16="http://schemas.microsoft.com/office/drawing/2014/main" id="{8A72AB32-9FD9-A4AF-965C-A974882FD942}"/>
              </a:ext>
            </a:extLst>
          </p:cNvPr>
          <p:cNvSpPr txBox="1"/>
          <p:nvPr/>
        </p:nvSpPr>
        <p:spPr>
          <a:xfrm>
            <a:off x="8572308" y="4516113"/>
            <a:ext cx="284988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i="0" spc="0" baseline="0" dirty="0">
                <a:solidFill>
                  <a:srgbClr val="555555"/>
                </a:solidFill>
                <a:latin typeface="Arial"/>
              </a:rPr>
              <a:t>Proprietary methods, resources and expertise depending on the issue</a:t>
            </a:r>
          </a:p>
        </p:txBody>
      </p:sp>
      <p:pic>
        <p:nvPicPr>
          <p:cNvPr id="5128" name="Picture 8" descr="Issues Icons - Free SVG &amp; PNG Issues Images - Noun Project">
            <a:extLst>
              <a:ext uri="{FF2B5EF4-FFF2-40B4-BE49-F238E27FC236}">
                <a16:creationId xmlns:a16="http://schemas.microsoft.com/office/drawing/2014/main" id="{4D2848C8-F4B1-47EE-4843-D9280BEC9A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7827" y="2274455"/>
            <a:ext cx="730828" cy="730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76371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Freeform 365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66" name="Freeform 366"/>
          <p:cNvSpPr/>
          <p:nvPr/>
        </p:nvSpPr>
        <p:spPr>
          <a:xfrm>
            <a:off x="666750" y="1143030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67" name="Freeform 367"/>
          <p:cNvSpPr/>
          <p:nvPr/>
        </p:nvSpPr>
        <p:spPr>
          <a:xfrm>
            <a:off x="671512" y="1147729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noFill/>
          <a:ln w="10666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68" name="Freeform 368"/>
          <p:cNvSpPr/>
          <p:nvPr/>
        </p:nvSpPr>
        <p:spPr>
          <a:xfrm>
            <a:off x="10210800" y="4429125"/>
            <a:ext cx="380492" cy="2428800"/>
          </a:xfrm>
          <a:custGeom>
            <a:avLst/>
            <a:gdLst/>
            <a:ahLst/>
            <a:cxnLst/>
            <a:rect l="0" t="0" r="0" b="0"/>
            <a:pathLst>
              <a:path w="380492" h="2428800">
                <a:moveTo>
                  <a:pt x="380492" y="243078"/>
                </a:moveTo>
                <a:lnTo>
                  <a:pt x="378841" y="216281"/>
                </a:lnTo>
                <a:lnTo>
                  <a:pt x="356996" y="196724"/>
                </a:lnTo>
                <a:lnTo>
                  <a:pt x="314959" y="176403"/>
                </a:lnTo>
                <a:lnTo>
                  <a:pt x="279400" y="148083"/>
                </a:lnTo>
                <a:lnTo>
                  <a:pt x="250697" y="113030"/>
                </a:lnTo>
                <a:lnTo>
                  <a:pt x="229616" y="72645"/>
                </a:lnTo>
                <a:lnTo>
                  <a:pt x="222250" y="47499"/>
                </a:lnTo>
                <a:lnTo>
                  <a:pt x="216661" y="28195"/>
                </a:lnTo>
                <a:lnTo>
                  <a:pt x="207771" y="11430"/>
                </a:lnTo>
                <a:lnTo>
                  <a:pt x="191643" y="3683"/>
                </a:lnTo>
                <a:lnTo>
                  <a:pt x="189865" y="3811"/>
                </a:lnTo>
                <a:lnTo>
                  <a:pt x="188214" y="1778"/>
                </a:lnTo>
                <a:lnTo>
                  <a:pt x="161670" y="0"/>
                </a:lnTo>
                <a:lnTo>
                  <a:pt x="139954" y="14733"/>
                </a:lnTo>
                <a:lnTo>
                  <a:pt x="138048" y="28575"/>
                </a:lnTo>
                <a:lnTo>
                  <a:pt x="119126" y="45974"/>
                </a:lnTo>
                <a:lnTo>
                  <a:pt x="86359" y="83186"/>
                </a:lnTo>
                <a:lnTo>
                  <a:pt x="57911" y="123445"/>
                </a:lnTo>
                <a:lnTo>
                  <a:pt x="33908" y="166498"/>
                </a:lnTo>
                <a:lnTo>
                  <a:pt x="14605" y="211964"/>
                </a:lnTo>
                <a:lnTo>
                  <a:pt x="0" y="259589"/>
                </a:lnTo>
                <a:lnTo>
                  <a:pt x="4698" y="287783"/>
                </a:lnTo>
                <a:lnTo>
                  <a:pt x="26669" y="302896"/>
                </a:lnTo>
                <a:lnTo>
                  <a:pt x="52578" y="300990"/>
                </a:lnTo>
                <a:lnTo>
                  <a:pt x="69595" y="278765"/>
                </a:lnTo>
                <a:lnTo>
                  <a:pt x="85725" y="228600"/>
                </a:lnTo>
                <a:lnTo>
                  <a:pt x="107695" y="181865"/>
                </a:lnTo>
                <a:lnTo>
                  <a:pt x="135508" y="138684"/>
                </a:lnTo>
                <a:lnTo>
                  <a:pt x="154940" y="115571"/>
                </a:lnTo>
                <a:lnTo>
                  <a:pt x="160528" y="139446"/>
                </a:lnTo>
                <a:lnTo>
                  <a:pt x="170560" y="188087"/>
                </a:lnTo>
                <a:lnTo>
                  <a:pt x="179323" y="236855"/>
                </a:lnTo>
                <a:lnTo>
                  <a:pt x="186817" y="285877"/>
                </a:lnTo>
                <a:lnTo>
                  <a:pt x="193167" y="335027"/>
                </a:lnTo>
                <a:lnTo>
                  <a:pt x="198501" y="384302"/>
                </a:lnTo>
                <a:lnTo>
                  <a:pt x="202945" y="433705"/>
                </a:lnTo>
                <a:lnTo>
                  <a:pt x="206502" y="483236"/>
                </a:lnTo>
                <a:lnTo>
                  <a:pt x="209295" y="532765"/>
                </a:lnTo>
                <a:lnTo>
                  <a:pt x="211328" y="582423"/>
                </a:lnTo>
                <a:lnTo>
                  <a:pt x="212725" y="632080"/>
                </a:lnTo>
                <a:lnTo>
                  <a:pt x="213741" y="681864"/>
                </a:lnTo>
                <a:lnTo>
                  <a:pt x="214248" y="731521"/>
                </a:lnTo>
                <a:lnTo>
                  <a:pt x="214503" y="781305"/>
                </a:lnTo>
                <a:lnTo>
                  <a:pt x="214376" y="880618"/>
                </a:lnTo>
                <a:lnTo>
                  <a:pt x="208788" y="2394196"/>
                </a:lnTo>
                <a:lnTo>
                  <a:pt x="220091" y="2420152"/>
                </a:lnTo>
                <a:lnTo>
                  <a:pt x="245109" y="2428800"/>
                </a:lnTo>
                <a:lnTo>
                  <a:pt x="270002" y="2420152"/>
                </a:lnTo>
                <a:lnTo>
                  <a:pt x="281305" y="2394196"/>
                </a:lnTo>
                <a:lnTo>
                  <a:pt x="284988" y="1447356"/>
                </a:lnTo>
                <a:lnTo>
                  <a:pt x="285750" y="1344626"/>
                </a:lnTo>
                <a:lnTo>
                  <a:pt x="289179" y="1035939"/>
                </a:lnTo>
                <a:lnTo>
                  <a:pt x="289814" y="932942"/>
                </a:lnTo>
                <a:lnTo>
                  <a:pt x="289941" y="881381"/>
                </a:lnTo>
                <a:lnTo>
                  <a:pt x="289686" y="829945"/>
                </a:lnTo>
                <a:lnTo>
                  <a:pt x="289306" y="778511"/>
                </a:lnTo>
                <a:lnTo>
                  <a:pt x="288543" y="727075"/>
                </a:lnTo>
                <a:lnTo>
                  <a:pt x="287528" y="675640"/>
                </a:lnTo>
                <a:lnTo>
                  <a:pt x="286131" y="624205"/>
                </a:lnTo>
                <a:lnTo>
                  <a:pt x="284226" y="572771"/>
                </a:lnTo>
                <a:lnTo>
                  <a:pt x="281940" y="521462"/>
                </a:lnTo>
                <a:lnTo>
                  <a:pt x="279018" y="471171"/>
                </a:lnTo>
                <a:lnTo>
                  <a:pt x="275335" y="420752"/>
                </a:lnTo>
                <a:lnTo>
                  <a:pt x="270636" y="370586"/>
                </a:lnTo>
                <a:lnTo>
                  <a:pt x="265048" y="320421"/>
                </a:lnTo>
                <a:lnTo>
                  <a:pt x="258444" y="270383"/>
                </a:lnTo>
                <a:lnTo>
                  <a:pt x="250697" y="220599"/>
                </a:lnTo>
                <a:lnTo>
                  <a:pt x="250063" y="217678"/>
                </a:lnTo>
                <a:lnTo>
                  <a:pt x="290830" y="244983"/>
                </a:lnTo>
                <a:lnTo>
                  <a:pt x="337693" y="266193"/>
                </a:lnTo>
                <a:lnTo>
                  <a:pt x="365506" y="264033"/>
                </a:lnTo>
                <a:lnTo>
                  <a:pt x="380492" y="243078"/>
                </a:lnTo>
                <a:close/>
                <a:moveTo>
                  <a:pt x="-8025003" y="2428875"/>
                </a:moveTo>
              </a:path>
            </a:pathLst>
          </a:custGeom>
          <a:solidFill>
            <a:srgbClr val="EBBD1F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69" name="Freeform 369"/>
          <p:cNvSpPr/>
          <p:nvPr/>
        </p:nvSpPr>
        <p:spPr>
          <a:xfrm>
            <a:off x="2043176" y="3231389"/>
            <a:ext cx="1391793" cy="628269"/>
          </a:xfrm>
          <a:custGeom>
            <a:avLst/>
            <a:gdLst/>
            <a:ahLst/>
            <a:cxnLst/>
            <a:rect l="0" t="0" r="0" b="0"/>
            <a:pathLst>
              <a:path w="1391793" h="628269">
                <a:moveTo>
                  <a:pt x="0" y="0"/>
                </a:moveTo>
                <a:lnTo>
                  <a:pt x="1391793" y="628269"/>
                </a:lnTo>
              </a:path>
            </a:pathLst>
          </a:custGeom>
          <a:noFill/>
          <a:ln w="9144" cap="flat" cmpd="sng">
            <a:solidFill>
              <a:srgbClr val="9B9B9B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70" name="Freeform 370"/>
          <p:cNvSpPr/>
          <p:nvPr/>
        </p:nvSpPr>
        <p:spPr>
          <a:xfrm>
            <a:off x="4585080" y="3100452"/>
            <a:ext cx="841756" cy="726440"/>
          </a:xfrm>
          <a:custGeom>
            <a:avLst/>
            <a:gdLst/>
            <a:ahLst/>
            <a:cxnLst/>
            <a:rect l="0" t="0" r="0" b="0"/>
            <a:pathLst>
              <a:path w="841756" h="726440">
                <a:moveTo>
                  <a:pt x="0" y="726440"/>
                </a:moveTo>
                <a:lnTo>
                  <a:pt x="841756" y="0"/>
                </a:lnTo>
              </a:path>
            </a:pathLst>
          </a:custGeom>
          <a:noFill/>
          <a:ln w="9144" cap="flat" cmpd="sng">
            <a:solidFill>
              <a:srgbClr val="9B9B9B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71" name="Freeform 371"/>
          <p:cNvSpPr/>
          <p:nvPr/>
        </p:nvSpPr>
        <p:spPr>
          <a:xfrm>
            <a:off x="6498335" y="3632200"/>
            <a:ext cx="506858" cy="849123"/>
          </a:xfrm>
          <a:custGeom>
            <a:avLst/>
            <a:gdLst/>
            <a:ahLst/>
            <a:cxnLst/>
            <a:rect l="0" t="0" r="0" b="0"/>
            <a:pathLst>
              <a:path w="506858" h="849123">
                <a:moveTo>
                  <a:pt x="506858" y="849123"/>
                </a:moveTo>
                <a:lnTo>
                  <a:pt x="0" y="0"/>
                </a:lnTo>
              </a:path>
            </a:pathLst>
          </a:custGeom>
          <a:noFill/>
          <a:ln w="9144" cap="flat" cmpd="sng">
            <a:solidFill>
              <a:srgbClr val="9B9B9B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72" name="Freeform 372"/>
          <p:cNvSpPr/>
          <p:nvPr/>
        </p:nvSpPr>
        <p:spPr>
          <a:xfrm>
            <a:off x="6638925" y="4324350"/>
            <a:ext cx="1561845" cy="1571372"/>
          </a:xfrm>
          <a:custGeom>
            <a:avLst/>
            <a:gdLst/>
            <a:ahLst/>
            <a:cxnLst/>
            <a:rect l="0" t="0" r="0" b="0"/>
            <a:pathLst>
              <a:path w="1561845" h="1571372">
                <a:moveTo>
                  <a:pt x="780922" y="0"/>
                </a:moveTo>
                <a:lnTo>
                  <a:pt x="733297" y="1398"/>
                </a:lnTo>
                <a:lnTo>
                  <a:pt x="686561" y="5715"/>
                </a:lnTo>
                <a:lnTo>
                  <a:pt x="640588" y="12700"/>
                </a:lnTo>
                <a:lnTo>
                  <a:pt x="595503" y="22225"/>
                </a:lnTo>
                <a:lnTo>
                  <a:pt x="551433" y="34418"/>
                </a:lnTo>
                <a:lnTo>
                  <a:pt x="508381" y="49149"/>
                </a:lnTo>
                <a:lnTo>
                  <a:pt x="466597" y="66168"/>
                </a:lnTo>
                <a:lnTo>
                  <a:pt x="425957" y="85599"/>
                </a:lnTo>
                <a:lnTo>
                  <a:pt x="386715" y="107315"/>
                </a:lnTo>
                <a:lnTo>
                  <a:pt x="348868" y="131065"/>
                </a:lnTo>
                <a:lnTo>
                  <a:pt x="312546" y="156973"/>
                </a:lnTo>
                <a:lnTo>
                  <a:pt x="277748" y="184786"/>
                </a:lnTo>
                <a:lnTo>
                  <a:pt x="244602" y="214503"/>
                </a:lnTo>
                <a:lnTo>
                  <a:pt x="213232" y="246127"/>
                </a:lnTo>
                <a:lnTo>
                  <a:pt x="183642" y="279527"/>
                </a:lnTo>
                <a:lnTo>
                  <a:pt x="155956" y="314452"/>
                </a:lnTo>
                <a:lnTo>
                  <a:pt x="130302" y="351028"/>
                </a:lnTo>
                <a:lnTo>
                  <a:pt x="106553" y="389128"/>
                </a:lnTo>
                <a:lnTo>
                  <a:pt x="85090" y="428625"/>
                </a:lnTo>
                <a:lnTo>
                  <a:pt x="65785" y="469393"/>
                </a:lnTo>
                <a:lnTo>
                  <a:pt x="48894" y="511556"/>
                </a:lnTo>
                <a:lnTo>
                  <a:pt x="34290" y="554736"/>
                </a:lnTo>
                <a:lnTo>
                  <a:pt x="22097" y="599059"/>
                </a:lnTo>
                <a:lnTo>
                  <a:pt x="12572" y="644399"/>
                </a:lnTo>
                <a:lnTo>
                  <a:pt x="5588" y="690753"/>
                </a:lnTo>
                <a:lnTo>
                  <a:pt x="1396" y="737871"/>
                </a:lnTo>
                <a:lnTo>
                  <a:pt x="0" y="785623"/>
                </a:lnTo>
                <a:lnTo>
                  <a:pt x="1396" y="833502"/>
                </a:lnTo>
                <a:lnTo>
                  <a:pt x="5588" y="880618"/>
                </a:lnTo>
                <a:lnTo>
                  <a:pt x="12572" y="926973"/>
                </a:lnTo>
                <a:lnTo>
                  <a:pt x="22097" y="972312"/>
                </a:lnTo>
                <a:lnTo>
                  <a:pt x="34290" y="1016636"/>
                </a:lnTo>
                <a:lnTo>
                  <a:pt x="48894" y="1059815"/>
                </a:lnTo>
                <a:lnTo>
                  <a:pt x="65785" y="1101979"/>
                </a:lnTo>
                <a:lnTo>
                  <a:pt x="85090" y="1142747"/>
                </a:lnTo>
                <a:lnTo>
                  <a:pt x="106553" y="1182243"/>
                </a:lnTo>
                <a:lnTo>
                  <a:pt x="130302" y="1220343"/>
                </a:lnTo>
                <a:lnTo>
                  <a:pt x="155956" y="1256920"/>
                </a:lnTo>
                <a:lnTo>
                  <a:pt x="183642" y="1291908"/>
                </a:lnTo>
                <a:lnTo>
                  <a:pt x="213232" y="1325233"/>
                </a:lnTo>
                <a:lnTo>
                  <a:pt x="244602" y="1356830"/>
                </a:lnTo>
                <a:lnTo>
                  <a:pt x="277748" y="1386599"/>
                </a:lnTo>
                <a:lnTo>
                  <a:pt x="312546" y="1414450"/>
                </a:lnTo>
                <a:lnTo>
                  <a:pt x="348868" y="1440320"/>
                </a:lnTo>
                <a:lnTo>
                  <a:pt x="386715" y="1464107"/>
                </a:lnTo>
                <a:lnTo>
                  <a:pt x="425957" y="1485748"/>
                </a:lnTo>
                <a:lnTo>
                  <a:pt x="466597" y="1505141"/>
                </a:lnTo>
                <a:lnTo>
                  <a:pt x="508381" y="1522223"/>
                </a:lnTo>
                <a:lnTo>
                  <a:pt x="551433" y="1536891"/>
                </a:lnTo>
                <a:lnTo>
                  <a:pt x="595503" y="1549083"/>
                </a:lnTo>
                <a:lnTo>
                  <a:pt x="640588" y="1558710"/>
                </a:lnTo>
                <a:lnTo>
                  <a:pt x="686561" y="1565695"/>
                </a:lnTo>
                <a:lnTo>
                  <a:pt x="733297" y="1569936"/>
                </a:lnTo>
                <a:lnTo>
                  <a:pt x="780922" y="1571372"/>
                </a:lnTo>
                <a:lnTo>
                  <a:pt x="828547" y="1569936"/>
                </a:lnTo>
                <a:lnTo>
                  <a:pt x="875283" y="1565695"/>
                </a:lnTo>
                <a:lnTo>
                  <a:pt x="921257" y="1558710"/>
                </a:lnTo>
                <a:lnTo>
                  <a:pt x="966343" y="1549083"/>
                </a:lnTo>
                <a:lnTo>
                  <a:pt x="1010411" y="1536891"/>
                </a:lnTo>
                <a:lnTo>
                  <a:pt x="1053465" y="1522223"/>
                </a:lnTo>
                <a:lnTo>
                  <a:pt x="1095247" y="1505141"/>
                </a:lnTo>
                <a:lnTo>
                  <a:pt x="1135888" y="1485748"/>
                </a:lnTo>
                <a:lnTo>
                  <a:pt x="1175131" y="1464107"/>
                </a:lnTo>
                <a:lnTo>
                  <a:pt x="1212977" y="1440320"/>
                </a:lnTo>
                <a:lnTo>
                  <a:pt x="1249298" y="1414450"/>
                </a:lnTo>
                <a:lnTo>
                  <a:pt x="1284096" y="1386599"/>
                </a:lnTo>
                <a:lnTo>
                  <a:pt x="1317243" y="1356830"/>
                </a:lnTo>
                <a:lnTo>
                  <a:pt x="1348613" y="1325233"/>
                </a:lnTo>
                <a:lnTo>
                  <a:pt x="1378204" y="1291908"/>
                </a:lnTo>
                <a:lnTo>
                  <a:pt x="1405890" y="1256920"/>
                </a:lnTo>
                <a:lnTo>
                  <a:pt x="1431543" y="1220343"/>
                </a:lnTo>
                <a:lnTo>
                  <a:pt x="1455293" y="1182243"/>
                </a:lnTo>
                <a:lnTo>
                  <a:pt x="1476756" y="1142747"/>
                </a:lnTo>
                <a:lnTo>
                  <a:pt x="1496059" y="1101979"/>
                </a:lnTo>
                <a:lnTo>
                  <a:pt x="1512951" y="1059815"/>
                </a:lnTo>
                <a:lnTo>
                  <a:pt x="1527556" y="1016636"/>
                </a:lnTo>
                <a:lnTo>
                  <a:pt x="1539747" y="972312"/>
                </a:lnTo>
                <a:lnTo>
                  <a:pt x="1549272" y="926973"/>
                </a:lnTo>
                <a:lnTo>
                  <a:pt x="1556257" y="880618"/>
                </a:lnTo>
                <a:lnTo>
                  <a:pt x="1560448" y="833502"/>
                </a:lnTo>
                <a:lnTo>
                  <a:pt x="1561845" y="785623"/>
                </a:lnTo>
                <a:lnTo>
                  <a:pt x="1560448" y="737871"/>
                </a:lnTo>
                <a:lnTo>
                  <a:pt x="1556257" y="690753"/>
                </a:lnTo>
                <a:lnTo>
                  <a:pt x="1549272" y="644399"/>
                </a:lnTo>
                <a:lnTo>
                  <a:pt x="1539747" y="599059"/>
                </a:lnTo>
                <a:lnTo>
                  <a:pt x="1527556" y="554736"/>
                </a:lnTo>
                <a:lnTo>
                  <a:pt x="1512951" y="511556"/>
                </a:lnTo>
                <a:lnTo>
                  <a:pt x="1496059" y="469393"/>
                </a:lnTo>
                <a:lnTo>
                  <a:pt x="1476756" y="428625"/>
                </a:lnTo>
                <a:lnTo>
                  <a:pt x="1455293" y="389128"/>
                </a:lnTo>
                <a:lnTo>
                  <a:pt x="1431543" y="351028"/>
                </a:lnTo>
                <a:lnTo>
                  <a:pt x="1405890" y="314452"/>
                </a:lnTo>
                <a:lnTo>
                  <a:pt x="1378204" y="279527"/>
                </a:lnTo>
                <a:lnTo>
                  <a:pt x="1348613" y="246127"/>
                </a:lnTo>
                <a:lnTo>
                  <a:pt x="1317243" y="214503"/>
                </a:lnTo>
                <a:lnTo>
                  <a:pt x="1284096" y="184786"/>
                </a:lnTo>
                <a:lnTo>
                  <a:pt x="1249298" y="156973"/>
                </a:lnTo>
                <a:lnTo>
                  <a:pt x="1212977" y="131065"/>
                </a:lnTo>
                <a:lnTo>
                  <a:pt x="1175131" y="107315"/>
                </a:lnTo>
                <a:lnTo>
                  <a:pt x="1135888" y="85599"/>
                </a:lnTo>
                <a:lnTo>
                  <a:pt x="1095247" y="66168"/>
                </a:lnTo>
                <a:lnTo>
                  <a:pt x="1053465" y="49149"/>
                </a:lnTo>
                <a:lnTo>
                  <a:pt x="1010411" y="34418"/>
                </a:lnTo>
                <a:lnTo>
                  <a:pt x="966343" y="22225"/>
                </a:lnTo>
                <a:lnTo>
                  <a:pt x="921257" y="12700"/>
                </a:lnTo>
                <a:lnTo>
                  <a:pt x="875283" y="5715"/>
                </a:lnTo>
                <a:lnTo>
                  <a:pt x="828547" y="1398"/>
                </a:lnTo>
                <a:lnTo>
                  <a:pt x="780922" y="0"/>
                </a:lnTo>
                <a:close/>
                <a:moveTo>
                  <a:pt x="-4105275" y="2533650"/>
                </a:moveTo>
              </a:path>
            </a:pathLst>
          </a:custGeom>
          <a:solidFill>
            <a:srgbClr val="3660A1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73" name="Freeform 373"/>
          <p:cNvSpPr/>
          <p:nvPr/>
        </p:nvSpPr>
        <p:spPr>
          <a:xfrm>
            <a:off x="1357375" y="3681477"/>
            <a:ext cx="238125" cy="609219"/>
          </a:xfrm>
          <a:custGeom>
            <a:avLst/>
            <a:gdLst/>
            <a:ahLst/>
            <a:cxnLst/>
            <a:rect l="0" t="0" r="0" b="0"/>
            <a:pathLst>
              <a:path w="238125" h="609219">
                <a:moveTo>
                  <a:pt x="238125" y="609219"/>
                </a:moveTo>
                <a:lnTo>
                  <a:pt x="0" y="0"/>
                </a:lnTo>
              </a:path>
            </a:pathLst>
          </a:custGeom>
          <a:noFill/>
          <a:ln w="9144" cap="flat" cmpd="sng">
            <a:solidFill>
              <a:srgbClr val="9B9B9B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74" name="Freeform 374"/>
          <p:cNvSpPr/>
          <p:nvPr/>
        </p:nvSpPr>
        <p:spPr>
          <a:xfrm>
            <a:off x="5400675" y="2133600"/>
            <a:ext cx="1571370" cy="1561846"/>
          </a:xfrm>
          <a:custGeom>
            <a:avLst/>
            <a:gdLst/>
            <a:ahLst/>
            <a:cxnLst/>
            <a:rect l="0" t="0" r="0" b="0"/>
            <a:pathLst>
              <a:path w="1571370" h="1561846">
                <a:moveTo>
                  <a:pt x="785621" y="0"/>
                </a:moveTo>
                <a:lnTo>
                  <a:pt x="737870" y="1397"/>
                </a:lnTo>
                <a:lnTo>
                  <a:pt x="690753" y="5589"/>
                </a:lnTo>
                <a:lnTo>
                  <a:pt x="644397" y="12573"/>
                </a:lnTo>
                <a:lnTo>
                  <a:pt x="599059" y="22098"/>
                </a:lnTo>
                <a:lnTo>
                  <a:pt x="554735" y="34291"/>
                </a:lnTo>
                <a:lnTo>
                  <a:pt x="511555" y="48896"/>
                </a:lnTo>
                <a:lnTo>
                  <a:pt x="469391" y="65786"/>
                </a:lnTo>
                <a:lnTo>
                  <a:pt x="428625" y="85091"/>
                </a:lnTo>
                <a:lnTo>
                  <a:pt x="389128" y="106554"/>
                </a:lnTo>
                <a:lnTo>
                  <a:pt x="351028" y="130303"/>
                </a:lnTo>
                <a:lnTo>
                  <a:pt x="314452" y="155956"/>
                </a:lnTo>
                <a:lnTo>
                  <a:pt x="279527" y="183642"/>
                </a:lnTo>
                <a:lnTo>
                  <a:pt x="246126" y="213234"/>
                </a:lnTo>
                <a:lnTo>
                  <a:pt x="214503" y="244603"/>
                </a:lnTo>
                <a:lnTo>
                  <a:pt x="184784" y="277749"/>
                </a:lnTo>
                <a:lnTo>
                  <a:pt x="156971" y="312547"/>
                </a:lnTo>
                <a:lnTo>
                  <a:pt x="131064" y="348870"/>
                </a:lnTo>
                <a:lnTo>
                  <a:pt x="107315" y="386716"/>
                </a:lnTo>
                <a:lnTo>
                  <a:pt x="85597" y="425959"/>
                </a:lnTo>
                <a:lnTo>
                  <a:pt x="66166" y="466598"/>
                </a:lnTo>
                <a:lnTo>
                  <a:pt x="49148" y="508381"/>
                </a:lnTo>
                <a:lnTo>
                  <a:pt x="34416" y="551435"/>
                </a:lnTo>
                <a:lnTo>
                  <a:pt x="22225" y="595504"/>
                </a:lnTo>
                <a:lnTo>
                  <a:pt x="12700" y="640589"/>
                </a:lnTo>
                <a:lnTo>
                  <a:pt x="5715" y="686562"/>
                </a:lnTo>
                <a:lnTo>
                  <a:pt x="1396" y="733298"/>
                </a:lnTo>
                <a:lnTo>
                  <a:pt x="0" y="780923"/>
                </a:lnTo>
                <a:lnTo>
                  <a:pt x="1396" y="828548"/>
                </a:lnTo>
                <a:lnTo>
                  <a:pt x="5715" y="875285"/>
                </a:lnTo>
                <a:lnTo>
                  <a:pt x="12700" y="921259"/>
                </a:lnTo>
                <a:lnTo>
                  <a:pt x="22225" y="966343"/>
                </a:lnTo>
                <a:lnTo>
                  <a:pt x="34416" y="1010412"/>
                </a:lnTo>
                <a:lnTo>
                  <a:pt x="49148" y="1053466"/>
                </a:lnTo>
                <a:lnTo>
                  <a:pt x="66166" y="1095248"/>
                </a:lnTo>
                <a:lnTo>
                  <a:pt x="85597" y="1135889"/>
                </a:lnTo>
                <a:lnTo>
                  <a:pt x="107315" y="1175131"/>
                </a:lnTo>
                <a:lnTo>
                  <a:pt x="131064" y="1212978"/>
                </a:lnTo>
                <a:lnTo>
                  <a:pt x="156971" y="1249299"/>
                </a:lnTo>
                <a:lnTo>
                  <a:pt x="184784" y="1284097"/>
                </a:lnTo>
                <a:lnTo>
                  <a:pt x="214503" y="1317245"/>
                </a:lnTo>
                <a:lnTo>
                  <a:pt x="246126" y="1348614"/>
                </a:lnTo>
                <a:lnTo>
                  <a:pt x="279527" y="1378204"/>
                </a:lnTo>
                <a:lnTo>
                  <a:pt x="314452" y="1405891"/>
                </a:lnTo>
                <a:lnTo>
                  <a:pt x="351028" y="1431545"/>
                </a:lnTo>
                <a:lnTo>
                  <a:pt x="389128" y="1455293"/>
                </a:lnTo>
                <a:lnTo>
                  <a:pt x="428625" y="1476756"/>
                </a:lnTo>
                <a:lnTo>
                  <a:pt x="469391" y="1496061"/>
                </a:lnTo>
                <a:lnTo>
                  <a:pt x="511555" y="1512952"/>
                </a:lnTo>
                <a:lnTo>
                  <a:pt x="554735" y="1527556"/>
                </a:lnTo>
                <a:lnTo>
                  <a:pt x="599059" y="1539749"/>
                </a:lnTo>
                <a:lnTo>
                  <a:pt x="644397" y="1549274"/>
                </a:lnTo>
                <a:lnTo>
                  <a:pt x="690753" y="1556258"/>
                </a:lnTo>
                <a:lnTo>
                  <a:pt x="737870" y="1560449"/>
                </a:lnTo>
                <a:lnTo>
                  <a:pt x="785621" y="1561846"/>
                </a:lnTo>
                <a:lnTo>
                  <a:pt x="833501" y="1560449"/>
                </a:lnTo>
                <a:lnTo>
                  <a:pt x="880617" y="1556258"/>
                </a:lnTo>
                <a:lnTo>
                  <a:pt x="926972" y="1549274"/>
                </a:lnTo>
                <a:lnTo>
                  <a:pt x="972311" y="1539749"/>
                </a:lnTo>
                <a:lnTo>
                  <a:pt x="1016634" y="1527556"/>
                </a:lnTo>
                <a:lnTo>
                  <a:pt x="1059815" y="1512952"/>
                </a:lnTo>
                <a:lnTo>
                  <a:pt x="1101979" y="1496061"/>
                </a:lnTo>
                <a:lnTo>
                  <a:pt x="1142745" y="1476756"/>
                </a:lnTo>
                <a:lnTo>
                  <a:pt x="1182243" y="1455293"/>
                </a:lnTo>
                <a:lnTo>
                  <a:pt x="1220343" y="1431545"/>
                </a:lnTo>
                <a:lnTo>
                  <a:pt x="1256918" y="1405891"/>
                </a:lnTo>
                <a:lnTo>
                  <a:pt x="1291843" y="1378204"/>
                </a:lnTo>
                <a:lnTo>
                  <a:pt x="1325244" y="1348614"/>
                </a:lnTo>
                <a:lnTo>
                  <a:pt x="1356868" y="1317245"/>
                </a:lnTo>
                <a:lnTo>
                  <a:pt x="1386585" y="1284097"/>
                </a:lnTo>
                <a:lnTo>
                  <a:pt x="1414398" y="1249299"/>
                </a:lnTo>
                <a:lnTo>
                  <a:pt x="1440306" y="1212978"/>
                </a:lnTo>
                <a:lnTo>
                  <a:pt x="1464056" y="1175131"/>
                </a:lnTo>
                <a:lnTo>
                  <a:pt x="1485772" y="1135889"/>
                </a:lnTo>
                <a:lnTo>
                  <a:pt x="1505077" y="1095248"/>
                </a:lnTo>
                <a:lnTo>
                  <a:pt x="1522221" y="1053466"/>
                </a:lnTo>
                <a:lnTo>
                  <a:pt x="1536954" y="1010412"/>
                </a:lnTo>
                <a:lnTo>
                  <a:pt x="1549145" y="966343"/>
                </a:lnTo>
                <a:lnTo>
                  <a:pt x="1558670" y="921259"/>
                </a:lnTo>
                <a:lnTo>
                  <a:pt x="1565656" y="875285"/>
                </a:lnTo>
                <a:lnTo>
                  <a:pt x="1569973" y="828548"/>
                </a:lnTo>
                <a:lnTo>
                  <a:pt x="1571370" y="780923"/>
                </a:lnTo>
                <a:lnTo>
                  <a:pt x="1569973" y="733298"/>
                </a:lnTo>
                <a:lnTo>
                  <a:pt x="1565656" y="686562"/>
                </a:lnTo>
                <a:lnTo>
                  <a:pt x="1558670" y="640589"/>
                </a:lnTo>
                <a:lnTo>
                  <a:pt x="1549145" y="595504"/>
                </a:lnTo>
                <a:lnTo>
                  <a:pt x="1536954" y="551435"/>
                </a:lnTo>
                <a:lnTo>
                  <a:pt x="1522221" y="508381"/>
                </a:lnTo>
                <a:lnTo>
                  <a:pt x="1505077" y="466598"/>
                </a:lnTo>
                <a:lnTo>
                  <a:pt x="1485772" y="425959"/>
                </a:lnTo>
                <a:lnTo>
                  <a:pt x="1464056" y="386716"/>
                </a:lnTo>
                <a:lnTo>
                  <a:pt x="1440306" y="348870"/>
                </a:lnTo>
                <a:lnTo>
                  <a:pt x="1414398" y="312547"/>
                </a:lnTo>
                <a:lnTo>
                  <a:pt x="1386585" y="277749"/>
                </a:lnTo>
                <a:lnTo>
                  <a:pt x="1356868" y="244603"/>
                </a:lnTo>
                <a:lnTo>
                  <a:pt x="1325244" y="213234"/>
                </a:lnTo>
                <a:lnTo>
                  <a:pt x="1291843" y="183642"/>
                </a:lnTo>
                <a:lnTo>
                  <a:pt x="1256918" y="155956"/>
                </a:lnTo>
                <a:lnTo>
                  <a:pt x="1220343" y="130303"/>
                </a:lnTo>
                <a:lnTo>
                  <a:pt x="1182243" y="106554"/>
                </a:lnTo>
                <a:lnTo>
                  <a:pt x="1142745" y="85091"/>
                </a:lnTo>
                <a:lnTo>
                  <a:pt x="1101979" y="65786"/>
                </a:lnTo>
                <a:lnTo>
                  <a:pt x="1059815" y="48896"/>
                </a:lnTo>
                <a:lnTo>
                  <a:pt x="1016634" y="34291"/>
                </a:lnTo>
                <a:lnTo>
                  <a:pt x="972311" y="22098"/>
                </a:lnTo>
                <a:lnTo>
                  <a:pt x="926972" y="12573"/>
                </a:lnTo>
                <a:lnTo>
                  <a:pt x="880617" y="5589"/>
                </a:lnTo>
                <a:lnTo>
                  <a:pt x="833501" y="1397"/>
                </a:lnTo>
                <a:lnTo>
                  <a:pt x="785621" y="0"/>
                </a:lnTo>
                <a:close/>
                <a:moveTo>
                  <a:pt x="-676275" y="4724400"/>
                </a:moveTo>
              </a:path>
            </a:pathLst>
          </a:custGeom>
          <a:solidFill>
            <a:srgbClr val="3660A1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75" name="Freeform 375"/>
          <p:cNvSpPr/>
          <p:nvPr/>
        </p:nvSpPr>
        <p:spPr>
          <a:xfrm>
            <a:off x="3190875" y="3609975"/>
            <a:ext cx="1657222" cy="1657223"/>
          </a:xfrm>
          <a:custGeom>
            <a:avLst/>
            <a:gdLst/>
            <a:ahLst/>
            <a:cxnLst/>
            <a:rect l="0" t="0" r="0" b="0"/>
            <a:pathLst>
              <a:path w="1657222" h="1657223">
                <a:moveTo>
                  <a:pt x="828675" y="0"/>
                </a:moveTo>
                <a:lnTo>
                  <a:pt x="779907" y="1398"/>
                </a:lnTo>
                <a:lnTo>
                  <a:pt x="732028" y="5589"/>
                </a:lnTo>
                <a:lnTo>
                  <a:pt x="684910" y="12446"/>
                </a:lnTo>
                <a:lnTo>
                  <a:pt x="638555" y="21845"/>
                </a:lnTo>
                <a:lnTo>
                  <a:pt x="593344" y="33909"/>
                </a:lnTo>
                <a:lnTo>
                  <a:pt x="549147" y="48261"/>
                </a:lnTo>
                <a:lnTo>
                  <a:pt x="506095" y="65152"/>
                </a:lnTo>
                <a:lnTo>
                  <a:pt x="464184" y="84202"/>
                </a:lnTo>
                <a:lnTo>
                  <a:pt x="423671" y="105537"/>
                </a:lnTo>
                <a:lnTo>
                  <a:pt x="384428" y="129033"/>
                </a:lnTo>
                <a:lnTo>
                  <a:pt x="346583" y="154559"/>
                </a:lnTo>
                <a:lnTo>
                  <a:pt x="310388" y="181992"/>
                </a:lnTo>
                <a:lnTo>
                  <a:pt x="275716" y="211455"/>
                </a:lnTo>
                <a:lnTo>
                  <a:pt x="242696" y="242698"/>
                </a:lnTo>
                <a:lnTo>
                  <a:pt x="211454" y="275718"/>
                </a:lnTo>
                <a:lnTo>
                  <a:pt x="181990" y="310389"/>
                </a:lnTo>
                <a:lnTo>
                  <a:pt x="154559" y="346583"/>
                </a:lnTo>
                <a:lnTo>
                  <a:pt x="129032" y="384430"/>
                </a:lnTo>
                <a:lnTo>
                  <a:pt x="105536" y="423673"/>
                </a:lnTo>
                <a:lnTo>
                  <a:pt x="84201" y="464186"/>
                </a:lnTo>
                <a:lnTo>
                  <a:pt x="65151" y="506096"/>
                </a:lnTo>
                <a:lnTo>
                  <a:pt x="48260" y="549149"/>
                </a:lnTo>
                <a:lnTo>
                  <a:pt x="33908" y="593345"/>
                </a:lnTo>
                <a:lnTo>
                  <a:pt x="21844" y="638556"/>
                </a:lnTo>
                <a:lnTo>
                  <a:pt x="12445" y="684911"/>
                </a:lnTo>
                <a:lnTo>
                  <a:pt x="5588" y="732028"/>
                </a:lnTo>
                <a:lnTo>
                  <a:pt x="1397" y="779908"/>
                </a:lnTo>
                <a:lnTo>
                  <a:pt x="0" y="828675"/>
                </a:lnTo>
                <a:lnTo>
                  <a:pt x="1397" y="877317"/>
                </a:lnTo>
                <a:lnTo>
                  <a:pt x="5588" y="925196"/>
                </a:lnTo>
                <a:lnTo>
                  <a:pt x="12445" y="972312"/>
                </a:lnTo>
                <a:lnTo>
                  <a:pt x="21844" y="1018668"/>
                </a:lnTo>
                <a:lnTo>
                  <a:pt x="33908" y="1063880"/>
                </a:lnTo>
                <a:lnTo>
                  <a:pt x="48260" y="1108075"/>
                </a:lnTo>
                <a:lnTo>
                  <a:pt x="65151" y="1151128"/>
                </a:lnTo>
                <a:lnTo>
                  <a:pt x="84201" y="1193039"/>
                </a:lnTo>
                <a:lnTo>
                  <a:pt x="105536" y="1233552"/>
                </a:lnTo>
                <a:lnTo>
                  <a:pt x="129032" y="1272795"/>
                </a:lnTo>
                <a:lnTo>
                  <a:pt x="154559" y="1310640"/>
                </a:lnTo>
                <a:lnTo>
                  <a:pt x="181990" y="1346836"/>
                </a:lnTo>
                <a:lnTo>
                  <a:pt x="211454" y="1381506"/>
                </a:lnTo>
                <a:lnTo>
                  <a:pt x="242696" y="1414527"/>
                </a:lnTo>
                <a:lnTo>
                  <a:pt x="275716" y="1445768"/>
                </a:lnTo>
                <a:lnTo>
                  <a:pt x="310388" y="1475233"/>
                </a:lnTo>
                <a:lnTo>
                  <a:pt x="346583" y="1502665"/>
                </a:lnTo>
                <a:lnTo>
                  <a:pt x="384428" y="1528192"/>
                </a:lnTo>
                <a:lnTo>
                  <a:pt x="423671" y="1551686"/>
                </a:lnTo>
                <a:lnTo>
                  <a:pt x="464184" y="1573023"/>
                </a:lnTo>
                <a:lnTo>
                  <a:pt x="506095" y="1592073"/>
                </a:lnTo>
                <a:lnTo>
                  <a:pt x="549147" y="1608964"/>
                </a:lnTo>
                <a:lnTo>
                  <a:pt x="593344" y="1623314"/>
                </a:lnTo>
                <a:lnTo>
                  <a:pt x="638555" y="1635379"/>
                </a:lnTo>
                <a:lnTo>
                  <a:pt x="684910" y="1644778"/>
                </a:lnTo>
                <a:lnTo>
                  <a:pt x="732028" y="1651636"/>
                </a:lnTo>
                <a:lnTo>
                  <a:pt x="779907" y="1655826"/>
                </a:lnTo>
                <a:lnTo>
                  <a:pt x="828675" y="1657223"/>
                </a:lnTo>
                <a:lnTo>
                  <a:pt x="877315" y="1655826"/>
                </a:lnTo>
                <a:lnTo>
                  <a:pt x="925195" y="1651636"/>
                </a:lnTo>
                <a:lnTo>
                  <a:pt x="972311" y="1644778"/>
                </a:lnTo>
                <a:lnTo>
                  <a:pt x="1018666" y="1635379"/>
                </a:lnTo>
                <a:lnTo>
                  <a:pt x="1063878" y="1623314"/>
                </a:lnTo>
                <a:lnTo>
                  <a:pt x="1108075" y="1608964"/>
                </a:lnTo>
                <a:lnTo>
                  <a:pt x="1151128" y="1592073"/>
                </a:lnTo>
                <a:lnTo>
                  <a:pt x="1193038" y="1573023"/>
                </a:lnTo>
                <a:lnTo>
                  <a:pt x="1233551" y="1551686"/>
                </a:lnTo>
                <a:lnTo>
                  <a:pt x="1272794" y="1528192"/>
                </a:lnTo>
                <a:lnTo>
                  <a:pt x="1310640" y="1502665"/>
                </a:lnTo>
                <a:lnTo>
                  <a:pt x="1346834" y="1475233"/>
                </a:lnTo>
                <a:lnTo>
                  <a:pt x="1381505" y="1445768"/>
                </a:lnTo>
                <a:lnTo>
                  <a:pt x="1414526" y="1414527"/>
                </a:lnTo>
                <a:lnTo>
                  <a:pt x="1445767" y="1381506"/>
                </a:lnTo>
                <a:lnTo>
                  <a:pt x="1475232" y="1346836"/>
                </a:lnTo>
                <a:lnTo>
                  <a:pt x="1502664" y="1310640"/>
                </a:lnTo>
                <a:lnTo>
                  <a:pt x="1528190" y="1272795"/>
                </a:lnTo>
                <a:lnTo>
                  <a:pt x="1551685" y="1233552"/>
                </a:lnTo>
                <a:lnTo>
                  <a:pt x="1573021" y="1193039"/>
                </a:lnTo>
                <a:lnTo>
                  <a:pt x="1592071" y="1151128"/>
                </a:lnTo>
                <a:lnTo>
                  <a:pt x="1608963" y="1108075"/>
                </a:lnTo>
                <a:lnTo>
                  <a:pt x="1623314" y="1063880"/>
                </a:lnTo>
                <a:lnTo>
                  <a:pt x="1635378" y="1018668"/>
                </a:lnTo>
                <a:lnTo>
                  <a:pt x="1644777" y="972312"/>
                </a:lnTo>
                <a:lnTo>
                  <a:pt x="1651634" y="925196"/>
                </a:lnTo>
                <a:lnTo>
                  <a:pt x="1655826" y="877317"/>
                </a:lnTo>
                <a:lnTo>
                  <a:pt x="1657222" y="828675"/>
                </a:lnTo>
                <a:lnTo>
                  <a:pt x="1655826" y="779908"/>
                </a:lnTo>
                <a:lnTo>
                  <a:pt x="1651634" y="732028"/>
                </a:lnTo>
                <a:lnTo>
                  <a:pt x="1644777" y="684911"/>
                </a:lnTo>
                <a:lnTo>
                  <a:pt x="1635378" y="638556"/>
                </a:lnTo>
                <a:lnTo>
                  <a:pt x="1623314" y="593345"/>
                </a:lnTo>
                <a:lnTo>
                  <a:pt x="1608963" y="549149"/>
                </a:lnTo>
                <a:lnTo>
                  <a:pt x="1592071" y="506096"/>
                </a:lnTo>
                <a:lnTo>
                  <a:pt x="1573021" y="464186"/>
                </a:lnTo>
                <a:lnTo>
                  <a:pt x="1551685" y="423673"/>
                </a:lnTo>
                <a:lnTo>
                  <a:pt x="1528190" y="384430"/>
                </a:lnTo>
                <a:lnTo>
                  <a:pt x="1502664" y="346583"/>
                </a:lnTo>
                <a:lnTo>
                  <a:pt x="1475232" y="310389"/>
                </a:lnTo>
                <a:lnTo>
                  <a:pt x="1445767" y="275718"/>
                </a:lnTo>
                <a:lnTo>
                  <a:pt x="1414526" y="242698"/>
                </a:lnTo>
                <a:lnTo>
                  <a:pt x="1381505" y="211455"/>
                </a:lnTo>
                <a:lnTo>
                  <a:pt x="1346834" y="181992"/>
                </a:lnTo>
                <a:lnTo>
                  <a:pt x="1310640" y="154559"/>
                </a:lnTo>
                <a:lnTo>
                  <a:pt x="1272794" y="129033"/>
                </a:lnTo>
                <a:lnTo>
                  <a:pt x="1233551" y="105537"/>
                </a:lnTo>
                <a:lnTo>
                  <a:pt x="1193038" y="84202"/>
                </a:lnTo>
                <a:lnTo>
                  <a:pt x="1151128" y="65152"/>
                </a:lnTo>
                <a:lnTo>
                  <a:pt x="1108075" y="48261"/>
                </a:lnTo>
                <a:lnTo>
                  <a:pt x="1063878" y="33909"/>
                </a:lnTo>
                <a:lnTo>
                  <a:pt x="1018666" y="21845"/>
                </a:lnTo>
                <a:lnTo>
                  <a:pt x="972311" y="12446"/>
                </a:lnTo>
                <a:lnTo>
                  <a:pt x="925195" y="5589"/>
                </a:lnTo>
                <a:lnTo>
                  <a:pt x="877315" y="1398"/>
                </a:lnTo>
                <a:lnTo>
                  <a:pt x="828675" y="0"/>
                </a:lnTo>
                <a:close/>
                <a:moveTo>
                  <a:pt x="57150" y="3248025"/>
                </a:moveTo>
              </a:path>
            </a:pathLst>
          </a:custGeom>
          <a:solidFill>
            <a:srgbClr val="3660A1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76" name="Freeform 376"/>
          <p:cNvSpPr/>
          <p:nvPr/>
        </p:nvSpPr>
        <p:spPr>
          <a:xfrm>
            <a:off x="809625" y="4286250"/>
            <a:ext cx="1561845" cy="1571372"/>
          </a:xfrm>
          <a:custGeom>
            <a:avLst/>
            <a:gdLst/>
            <a:ahLst/>
            <a:cxnLst/>
            <a:rect l="0" t="0" r="0" b="0"/>
            <a:pathLst>
              <a:path w="1561845" h="1571372">
                <a:moveTo>
                  <a:pt x="780922" y="0"/>
                </a:moveTo>
                <a:lnTo>
                  <a:pt x="733297" y="1398"/>
                </a:lnTo>
                <a:lnTo>
                  <a:pt x="686561" y="5715"/>
                </a:lnTo>
                <a:lnTo>
                  <a:pt x="640588" y="12700"/>
                </a:lnTo>
                <a:lnTo>
                  <a:pt x="595502" y="22225"/>
                </a:lnTo>
                <a:lnTo>
                  <a:pt x="551433" y="34418"/>
                </a:lnTo>
                <a:lnTo>
                  <a:pt x="508380" y="49149"/>
                </a:lnTo>
                <a:lnTo>
                  <a:pt x="466597" y="66168"/>
                </a:lnTo>
                <a:lnTo>
                  <a:pt x="426034" y="85599"/>
                </a:lnTo>
                <a:lnTo>
                  <a:pt x="386778" y="107315"/>
                </a:lnTo>
                <a:lnTo>
                  <a:pt x="348932" y="131065"/>
                </a:lnTo>
                <a:lnTo>
                  <a:pt x="312572" y="156973"/>
                </a:lnTo>
                <a:lnTo>
                  <a:pt x="277787" y="184786"/>
                </a:lnTo>
                <a:lnTo>
                  <a:pt x="244652" y="214503"/>
                </a:lnTo>
                <a:lnTo>
                  <a:pt x="213245" y="246127"/>
                </a:lnTo>
                <a:lnTo>
                  <a:pt x="183667" y="279527"/>
                </a:lnTo>
                <a:lnTo>
                  <a:pt x="155968" y="314452"/>
                </a:lnTo>
                <a:lnTo>
                  <a:pt x="130263" y="351028"/>
                </a:lnTo>
                <a:lnTo>
                  <a:pt x="106616" y="389128"/>
                </a:lnTo>
                <a:lnTo>
                  <a:pt x="85115" y="428625"/>
                </a:lnTo>
                <a:lnTo>
                  <a:pt x="65836" y="469393"/>
                </a:lnTo>
                <a:lnTo>
                  <a:pt x="48856" y="511556"/>
                </a:lnTo>
                <a:lnTo>
                  <a:pt x="34264" y="554736"/>
                </a:lnTo>
                <a:lnTo>
                  <a:pt x="22148" y="599059"/>
                </a:lnTo>
                <a:lnTo>
                  <a:pt x="12585" y="644399"/>
                </a:lnTo>
                <a:lnTo>
                  <a:pt x="5651" y="690753"/>
                </a:lnTo>
                <a:lnTo>
                  <a:pt x="1422" y="737871"/>
                </a:lnTo>
                <a:lnTo>
                  <a:pt x="0" y="785623"/>
                </a:lnTo>
                <a:lnTo>
                  <a:pt x="1422" y="833502"/>
                </a:lnTo>
                <a:lnTo>
                  <a:pt x="5651" y="880618"/>
                </a:lnTo>
                <a:lnTo>
                  <a:pt x="12585" y="926974"/>
                </a:lnTo>
                <a:lnTo>
                  <a:pt x="22148" y="972312"/>
                </a:lnTo>
                <a:lnTo>
                  <a:pt x="34264" y="1016636"/>
                </a:lnTo>
                <a:lnTo>
                  <a:pt x="48856" y="1059815"/>
                </a:lnTo>
                <a:lnTo>
                  <a:pt x="65836" y="1101979"/>
                </a:lnTo>
                <a:lnTo>
                  <a:pt x="85115" y="1142747"/>
                </a:lnTo>
                <a:lnTo>
                  <a:pt x="106616" y="1182243"/>
                </a:lnTo>
                <a:lnTo>
                  <a:pt x="130263" y="1220343"/>
                </a:lnTo>
                <a:lnTo>
                  <a:pt x="155968" y="1256920"/>
                </a:lnTo>
                <a:lnTo>
                  <a:pt x="183667" y="1291845"/>
                </a:lnTo>
                <a:lnTo>
                  <a:pt x="213245" y="1325233"/>
                </a:lnTo>
                <a:lnTo>
                  <a:pt x="244652" y="1356830"/>
                </a:lnTo>
                <a:lnTo>
                  <a:pt x="277787" y="1386599"/>
                </a:lnTo>
                <a:lnTo>
                  <a:pt x="312572" y="1414450"/>
                </a:lnTo>
                <a:lnTo>
                  <a:pt x="348932" y="1440320"/>
                </a:lnTo>
                <a:lnTo>
                  <a:pt x="386778" y="1464107"/>
                </a:lnTo>
                <a:lnTo>
                  <a:pt x="426034" y="1485748"/>
                </a:lnTo>
                <a:lnTo>
                  <a:pt x="466597" y="1505141"/>
                </a:lnTo>
                <a:lnTo>
                  <a:pt x="508380" y="1522223"/>
                </a:lnTo>
                <a:lnTo>
                  <a:pt x="551433" y="1536891"/>
                </a:lnTo>
                <a:lnTo>
                  <a:pt x="595502" y="1549083"/>
                </a:lnTo>
                <a:lnTo>
                  <a:pt x="640588" y="1558710"/>
                </a:lnTo>
                <a:lnTo>
                  <a:pt x="686561" y="1565695"/>
                </a:lnTo>
                <a:lnTo>
                  <a:pt x="733297" y="1569936"/>
                </a:lnTo>
                <a:lnTo>
                  <a:pt x="780922" y="1571372"/>
                </a:lnTo>
                <a:lnTo>
                  <a:pt x="828548" y="1569936"/>
                </a:lnTo>
                <a:lnTo>
                  <a:pt x="875283" y="1565695"/>
                </a:lnTo>
                <a:lnTo>
                  <a:pt x="921257" y="1558710"/>
                </a:lnTo>
                <a:lnTo>
                  <a:pt x="966342" y="1549083"/>
                </a:lnTo>
                <a:lnTo>
                  <a:pt x="1010411" y="1536891"/>
                </a:lnTo>
                <a:lnTo>
                  <a:pt x="1053464" y="1522223"/>
                </a:lnTo>
                <a:lnTo>
                  <a:pt x="1095248" y="1505141"/>
                </a:lnTo>
                <a:lnTo>
                  <a:pt x="1135888" y="1485748"/>
                </a:lnTo>
                <a:lnTo>
                  <a:pt x="1175130" y="1464107"/>
                </a:lnTo>
                <a:lnTo>
                  <a:pt x="1212976" y="1440320"/>
                </a:lnTo>
                <a:lnTo>
                  <a:pt x="1249298" y="1414450"/>
                </a:lnTo>
                <a:lnTo>
                  <a:pt x="1284097" y="1386599"/>
                </a:lnTo>
                <a:lnTo>
                  <a:pt x="1317244" y="1356830"/>
                </a:lnTo>
                <a:lnTo>
                  <a:pt x="1348613" y="1325233"/>
                </a:lnTo>
                <a:lnTo>
                  <a:pt x="1378204" y="1291845"/>
                </a:lnTo>
                <a:lnTo>
                  <a:pt x="1405889" y="1256920"/>
                </a:lnTo>
                <a:lnTo>
                  <a:pt x="1431544" y="1220343"/>
                </a:lnTo>
                <a:lnTo>
                  <a:pt x="1455292" y="1182243"/>
                </a:lnTo>
                <a:lnTo>
                  <a:pt x="1476755" y="1142747"/>
                </a:lnTo>
                <a:lnTo>
                  <a:pt x="1496060" y="1101979"/>
                </a:lnTo>
                <a:lnTo>
                  <a:pt x="1512951" y="1059815"/>
                </a:lnTo>
                <a:lnTo>
                  <a:pt x="1527555" y="1016636"/>
                </a:lnTo>
                <a:lnTo>
                  <a:pt x="1539748" y="972312"/>
                </a:lnTo>
                <a:lnTo>
                  <a:pt x="1549273" y="926974"/>
                </a:lnTo>
                <a:lnTo>
                  <a:pt x="1556257" y="880618"/>
                </a:lnTo>
                <a:lnTo>
                  <a:pt x="1560448" y="833502"/>
                </a:lnTo>
                <a:lnTo>
                  <a:pt x="1561845" y="785623"/>
                </a:lnTo>
                <a:lnTo>
                  <a:pt x="1560448" y="737871"/>
                </a:lnTo>
                <a:lnTo>
                  <a:pt x="1556257" y="690753"/>
                </a:lnTo>
                <a:lnTo>
                  <a:pt x="1549273" y="644399"/>
                </a:lnTo>
                <a:lnTo>
                  <a:pt x="1539748" y="599059"/>
                </a:lnTo>
                <a:lnTo>
                  <a:pt x="1527555" y="554736"/>
                </a:lnTo>
                <a:lnTo>
                  <a:pt x="1512951" y="511556"/>
                </a:lnTo>
                <a:lnTo>
                  <a:pt x="1496060" y="469393"/>
                </a:lnTo>
                <a:lnTo>
                  <a:pt x="1476755" y="428625"/>
                </a:lnTo>
                <a:lnTo>
                  <a:pt x="1455292" y="389128"/>
                </a:lnTo>
                <a:lnTo>
                  <a:pt x="1431544" y="351028"/>
                </a:lnTo>
                <a:lnTo>
                  <a:pt x="1405889" y="314452"/>
                </a:lnTo>
                <a:lnTo>
                  <a:pt x="1378204" y="279527"/>
                </a:lnTo>
                <a:lnTo>
                  <a:pt x="1348613" y="246127"/>
                </a:lnTo>
                <a:lnTo>
                  <a:pt x="1317244" y="214503"/>
                </a:lnTo>
                <a:lnTo>
                  <a:pt x="1284097" y="184786"/>
                </a:lnTo>
                <a:lnTo>
                  <a:pt x="1249298" y="156973"/>
                </a:lnTo>
                <a:lnTo>
                  <a:pt x="1212976" y="131065"/>
                </a:lnTo>
                <a:lnTo>
                  <a:pt x="1175130" y="107315"/>
                </a:lnTo>
                <a:lnTo>
                  <a:pt x="1135888" y="85599"/>
                </a:lnTo>
                <a:lnTo>
                  <a:pt x="1095248" y="66168"/>
                </a:lnTo>
                <a:lnTo>
                  <a:pt x="1053464" y="49149"/>
                </a:lnTo>
                <a:lnTo>
                  <a:pt x="1010411" y="34418"/>
                </a:lnTo>
                <a:lnTo>
                  <a:pt x="966342" y="22225"/>
                </a:lnTo>
                <a:lnTo>
                  <a:pt x="921257" y="12700"/>
                </a:lnTo>
                <a:lnTo>
                  <a:pt x="875283" y="5715"/>
                </a:lnTo>
                <a:lnTo>
                  <a:pt x="828548" y="1398"/>
                </a:lnTo>
                <a:lnTo>
                  <a:pt x="780922" y="0"/>
                </a:lnTo>
                <a:close/>
                <a:moveTo>
                  <a:pt x="1762125" y="2571750"/>
                </a:moveTo>
              </a:path>
            </a:pathLst>
          </a:custGeom>
          <a:solidFill>
            <a:srgbClr val="3660A1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77" name="Freeform 377"/>
          <p:cNvSpPr/>
          <p:nvPr/>
        </p:nvSpPr>
        <p:spPr>
          <a:xfrm>
            <a:off x="561975" y="2105025"/>
            <a:ext cx="1571370" cy="1571371"/>
          </a:xfrm>
          <a:custGeom>
            <a:avLst/>
            <a:gdLst/>
            <a:ahLst/>
            <a:cxnLst/>
            <a:rect l="0" t="0" r="0" b="0"/>
            <a:pathLst>
              <a:path w="1571370" h="1571371">
                <a:moveTo>
                  <a:pt x="785622" y="0"/>
                </a:moveTo>
                <a:lnTo>
                  <a:pt x="737869" y="1397"/>
                </a:lnTo>
                <a:lnTo>
                  <a:pt x="690714" y="5716"/>
                </a:lnTo>
                <a:lnTo>
                  <a:pt x="644461" y="12700"/>
                </a:lnTo>
                <a:lnTo>
                  <a:pt x="599122" y="22225"/>
                </a:lnTo>
                <a:lnTo>
                  <a:pt x="554786" y="34417"/>
                </a:lnTo>
                <a:lnTo>
                  <a:pt x="511530" y="49149"/>
                </a:lnTo>
                <a:lnTo>
                  <a:pt x="469455" y="66167"/>
                </a:lnTo>
                <a:lnTo>
                  <a:pt x="428625" y="85598"/>
                </a:lnTo>
                <a:lnTo>
                  <a:pt x="389140" y="107316"/>
                </a:lnTo>
                <a:lnTo>
                  <a:pt x="351053" y="131065"/>
                </a:lnTo>
                <a:lnTo>
                  <a:pt x="314477" y="156972"/>
                </a:lnTo>
                <a:lnTo>
                  <a:pt x="279476" y="184785"/>
                </a:lnTo>
                <a:lnTo>
                  <a:pt x="246138" y="214504"/>
                </a:lnTo>
                <a:lnTo>
                  <a:pt x="214553" y="246127"/>
                </a:lnTo>
                <a:lnTo>
                  <a:pt x="184784" y="279528"/>
                </a:lnTo>
                <a:lnTo>
                  <a:pt x="156921" y="314453"/>
                </a:lnTo>
                <a:lnTo>
                  <a:pt x="131063" y="351029"/>
                </a:lnTo>
                <a:lnTo>
                  <a:pt x="107264" y="389129"/>
                </a:lnTo>
                <a:lnTo>
                  <a:pt x="85636" y="428625"/>
                </a:lnTo>
                <a:lnTo>
                  <a:pt x="66230" y="469392"/>
                </a:lnTo>
                <a:lnTo>
                  <a:pt x="49148" y="511556"/>
                </a:lnTo>
                <a:lnTo>
                  <a:pt x="34480" y="554736"/>
                </a:lnTo>
                <a:lnTo>
                  <a:pt x="22288" y="599060"/>
                </a:lnTo>
                <a:lnTo>
                  <a:pt x="12661" y="644398"/>
                </a:lnTo>
                <a:lnTo>
                  <a:pt x="5676" y="690754"/>
                </a:lnTo>
                <a:lnTo>
                  <a:pt x="1435" y="737871"/>
                </a:lnTo>
                <a:lnTo>
                  <a:pt x="0" y="785622"/>
                </a:lnTo>
                <a:lnTo>
                  <a:pt x="1435" y="833502"/>
                </a:lnTo>
                <a:lnTo>
                  <a:pt x="5676" y="880618"/>
                </a:lnTo>
                <a:lnTo>
                  <a:pt x="12661" y="926973"/>
                </a:lnTo>
                <a:lnTo>
                  <a:pt x="22288" y="972312"/>
                </a:lnTo>
                <a:lnTo>
                  <a:pt x="34480" y="1016635"/>
                </a:lnTo>
                <a:lnTo>
                  <a:pt x="49148" y="1059816"/>
                </a:lnTo>
                <a:lnTo>
                  <a:pt x="66230" y="1101979"/>
                </a:lnTo>
                <a:lnTo>
                  <a:pt x="85636" y="1142747"/>
                </a:lnTo>
                <a:lnTo>
                  <a:pt x="107264" y="1182243"/>
                </a:lnTo>
                <a:lnTo>
                  <a:pt x="131063" y="1220343"/>
                </a:lnTo>
                <a:lnTo>
                  <a:pt x="156921" y="1256920"/>
                </a:lnTo>
                <a:lnTo>
                  <a:pt x="184784" y="1291845"/>
                </a:lnTo>
                <a:lnTo>
                  <a:pt x="214553" y="1325246"/>
                </a:lnTo>
                <a:lnTo>
                  <a:pt x="246138" y="1356868"/>
                </a:lnTo>
                <a:lnTo>
                  <a:pt x="279476" y="1386586"/>
                </a:lnTo>
                <a:lnTo>
                  <a:pt x="314477" y="1414399"/>
                </a:lnTo>
                <a:lnTo>
                  <a:pt x="351053" y="1440308"/>
                </a:lnTo>
                <a:lnTo>
                  <a:pt x="389140" y="1464056"/>
                </a:lnTo>
                <a:lnTo>
                  <a:pt x="428625" y="1485773"/>
                </a:lnTo>
                <a:lnTo>
                  <a:pt x="469455" y="1505077"/>
                </a:lnTo>
                <a:lnTo>
                  <a:pt x="511530" y="1522223"/>
                </a:lnTo>
                <a:lnTo>
                  <a:pt x="554786" y="1536955"/>
                </a:lnTo>
                <a:lnTo>
                  <a:pt x="599122" y="1549146"/>
                </a:lnTo>
                <a:lnTo>
                  <a:pt x="644461" y="1558671"/>
                </a:lnTo>
                <a:lnTo>
                  <a:pt x="690714" y="1565656"/>
                </a:lnTo>
                <a:lnTo>
                  <a:pt x="737869" y="1569974"/>
                </a:lnTo>
                <a:lnTo>
                  <a:pt x="785622" y="1571371"/>
                </a:lnTo>
                <a:lnTo>
                  <a:pt x="833500" y="1569974"/>
                </a:lnTo>
                <a:lnTo>
                  <a:pt x="880617" y="1565656"/>
                </a:lnTo>
                <a:lnTo>
                  <a:pt x="926972" y="1558671"/>
                </a:lnTo>
                <a:lnTo>
                  <a:pt x="972311" y="1549146"/>
                </a:lnTo>
                <a:lnTo>
                  <a:pt x="1016635" y="1536955"/>
                </a:lnTo>
                <a:lnTo>
                  <a:pt x="1059814" y="1522223"/>
                </a:lnTo>
                <a:lnTo>
                  <a:pt x="1101979" y="1505077"/>
                </a:lnTo>
                <a:lnTo>
                  <a:pt x="1142745" y="1485773"/>
                </a:lnTo>
                <a:lnTo>
                  <a:pt x="1182242" y="1464056"/>
                </a:lnTo>
                <a:lnTo>
                  <a:pt x="1220342" y="1440308"/>
                </a:lnTo>
                <a:lnTo>
                  <a:pt x="1256919" y="1414399"/>
                </a:lnTo>
                <a:lnTo>
                  <a:pt x="1291844" y="1386586"/>
                </a:lnTo>
                <a:lnTo>
                  <a:pt x="1325245" y="1356868"/>
                </a:lnTo>
                <a:lnTo>
                  <a:pt x="1356867" y="1325246"/>
                </a:lnTo>
                <a:lnTo>
                  <a:pt x="1386585" y="1291845"/>
                </a:lnTo>
                <a:lnTo>
                  <a:pt x="1414398" y="1256920"/>
                </a:lnTo>
                <a:lnTo>
                  <a:pt x="1440307" y="1220343"/>
                </a:lnTo>
                <a:lnTo>
                  <a:pt x="1464055" y="1182243"/>
                </a:lnTo>
                <a:lnTo>
                  <a:pt x="1485773" y="1142747"/>
                </a:lnTo>
                <a:lnTo>
                  <a:pt x="1505076" y="1101979"/>
                </a:lnTo>
                <a:lnTo>
                  <a:pt x="1522222" y="1059816"/>
                </a:lnTo>
                <a:lnTo>
                  <a:pt x="1536954" y="1016635"/>
                </a:lnTo>
                <a:lnTo>
                  <a:pt x="1549145" y="972312"/>
                </a:lnTo>
                <a:lnTo>
                  <a:pt x="1558670" y="926973"/>
                </a:lnTo>
                <a:lnTo>
                  <a:pt x="1565655" y="880618"/>
                </a:lnTo>
                <a:lnTo>
                  <a:pt x="1569973" y="833502"/>
                </a:lnTo>
                <a:lnTo>
                  <a:pt x="1571370" y="785622"/>
                </a:lnTo>
                <a:lnTo>
                  <a:pt x="1569973" y="737871"/>
                </a:lnTo>
                <a:lnTo>
                  <a:pt x="1565655" y="690754"/>
                </a:lnTo>
                <a:lnTo>
                  <a:pt x="1558670" y="644398"/>
                </a:lnTo>
                <a:lnTo>
                  <a:pt x="1549145" y="599060"/>
                </a:lnTo>
                <a:lnTo>
                  <a:pt x="1536954" y="554736"/>
                </a:lnTo>
                <a:lnTo>
                  <a:pt x="1522222" y="511556"/>
                </a:lnTo>
                <a:lnTo>
                  <a:pt x="1505076" y="469392"/>
                </a:lnTo>
                <a:lnTo>
                  <a:pt x="1485773" y="428625"/>
                </a:lnTo>
                <a:lnTo>
                  <a:pt x="1464055" y="389129"/>
                </a:lnTo>
                <a:lnTo>
                  <a:pt x="1440307" y="351029"/>
                </a:lnTo>
                <a:lnTo>
                  <a:pt x="1414398" y="314453"/>
                </a:lnTo>
                <a:lnTo>
                  <a:pt x="1386585" y="279528"/>
                </a:lnTo>
                <a:lnTo>
                  <a:pt x="1356867" y="246127"/>
                </a:lnTo>
                <a:lnTo>
                  <a:pt x="1325245" y="214504"/>
                </a:lnTo>
                <a:lnTo>
                  <a:pt x="1291844" y="184785"/>
                </a:lnTo>
                <a:lnTo>
                  <a:pt x="1256919" y="156972"/>
                </a:lnTo>
                <a:lnTo>
                  <a:pt x="1220342" y="131065"/>
                </a:lnTo>
                <a:lnTo>
                  <a:pt x="1182242" y="107316"/>
                </a:lnTo>
                <a:lnTo>
                  <a:pt x="1142745" y="85598"/>
                </a:lnTo>
                <a:lnTo>
                  <a:pt x="1101979" y="66167"/>
                </a:lnTo>
                <a:lnTo>
                  <a:pt x="1059814" y="49149"/>
                </a:lnTo>
                <a:lnTo>
                  <a:pt x="1016635" y="34417"/>
                </a:lnTo>
                <a:lnTo>
                  <a:pt x="972311" y="22225"/>
                </a:lnTo>
                <a:lnTo>
                  <a:pt x="926972" y="12700"/>
                </a:lnTo>
                <a:lnTo>
                  <a:pt x="880617" y="5716"/>
                </a:lnTo>
                <a:lnTo>
                  <a:pt x="833500" y="1397"/>
                </a:lnTo>
                <a:lnTo>
                  <a:pt x="785622" y="0"/>
                </a:lnTo>
                <a:close/>
                <a:moveTo>
                  <a:pt x="4191000" y="4752975"/>
                </a:moveTo>
              </a:path>
            </a:pathLst>
          </a:custGeom>
          <a:solidFill>
            <a:srgbClr val="3660A1">
              <a:alpha val="100000"/>
            </a:srgbClr>
          </a:solidFill>
          <a:ln w="9144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78" name="Rectangle 378"/>
          <p:cNvSpPr/>
          <p:nvPr/>
        </p:nvSpPr>
        <p:spPr>
          <a:xfrm>
            <a:off x="11489055" y="6397333"/>
            <a:ext cx="68846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9</a:t>
            </a:r>
          </a:p>
        </p:txBody>
      </p:sp>
      <p:sp>
        <p:nvSpPr>
          <p:cNvPr id="379" name="Rectangle 379"/>
          <p:cNvSpPr/>
          <p:nvPr/>
        </p:nvSpPr>
        <p:spPr>
          <a:xfrm>
            <a:off x="630555" y="488768"/>
            <a:ext cx="8117383" cy="61258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There i</a:t>
            </a:r>
            <a:r>
              <a:rPr lang="fr-FR" sz="3604" b="1" i="0" spc="983" baseline="0" dirty="0">
                <a:solidFill>
                  <a:srgbClr val="466CAD"/>
                </a:solidFill>
                <a:latin typeface="Arial"/>
              </a:rPr>
              <a:t>s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no typical cas</a:t>
            </a:r>
            <a:r>
              <a:rPr lang="fr-FR" sz="3604" b="1" i="0" spc="967" baseline="0" dirty="0">
                <a:solidFill>
                  <a:srgbClr val="466CAD"/>
                </a:solidFill>
                <a:latin typeface="Arial"/>
              </a:rPr>
              <a:t>e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in consulting</a:t>
            </a:r>
          </a:p>
        </p:txBody>
      </p:sp>
      <p:sp>
        <p:nvSpPr>
          <p:cNvPr id="380" name="Rectangle 380"/>
          <p:cNvSpPr/>
          <p:nvPr/>
        </p:nvSpPr>
        <p:spPr>
          <a:xfrm>
            <a:off x="9069705" y="2836566"/>
            <a:ext cx="2713361" cy="12606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2029" b="0" i="0" spc="0" baseline="0" dirty="0">
                <a:solidFill>
                  <a:srgbClr val="4B71B1"/>
                </a:solidFill>
                <a:latin typeface="Arial"/>
              </a:rPr>
              <a:t>Consultin</a:t>
            </a:r>
            <a:r>
              <a:rPr lang="fr-FR" sz="2029" b="0" i="0" spc="520" baseline="0" dirty="0">
                <a:solidFill>
                  <a:srgbClr val="4B71B1"/>
                </a:solidFill>
                <a:latin typeface="Arial"/>
              </a:rPr>
              <a:t>g</a:t>
            </a:r>
            <a:r>
              <a:rPr lang="fr-FR" sz="2029" b="0" i="0" spc="0" baseline="0" dirty="0">
                <a:solidFill>
                  <a:srgbClr val="4B71B1"/>
                </a:solidFill>
                <a:latin typeface="Arial"/>
              </a:rPr>
              <a:t>i</a:t>
            </a:r>
            <a:r>
              <a:rPr lang="fr-FR" sz="2029" b="0" i="0" spc="520" baseline="0" dirty="0">
                <a:solidFill>
                  <a:srgbClr val="4B71B1"/>
                </a:solidFill>
                <a:latin typeface="Arial"/>
              </a:rPr>
              <a:t>s</a:t>
            </a:r>
            <a:r>
              <a:rPr lang="fr-FR" sz="2029" b="0" i="0" spc="0" baseline="0" dirty="0">
                <a:solidFill>
                  <a:srgbClr val="4B71B1"/>
                </a:solidFill>
                <a:latin typeface="Arial"/>
              </a:rPr>
              <a:t>fo</a:t>
            </a:r>
            <a:r>
              <a:rPr lang="fr-FR" sz="2029" b="0" i="0" spc="512" baseline="0" dirty="0">
                <a:solidFill>
                  <a:srgbClr val="4B71B1"/>
                </a:solidFill>
                <a:latin typeface="Arial"/>
              </a:rPr>
              <a:t>r</a:t>
            </a:r>
            <a:r>
              <a:rPr lang="fr-FR" sz="2029" b="0" i="0" spc="0" baseline="0" dirty="0">
                <a:solidFill>
                  <a:srgbClr val="4B71B1"/>
                </a:solidFill>
                <a:latin typeface="Arial"/>
              </a:rPr>
              <a:t>people </a:t>
            </a:r>
          </a:p>
          <a:p>
            <a:pPr marL="0">
              <a:lnSpc>
                <a:spcPts val="2404"/>
              </a:lnSpc>
            </a:pPr>
            <a:r>
              <a:rPr lang="fr-FR" sz="2027" b="0" i="0" spc="0" baseline="0" dirty="0">
                <a:solidFill>
                  <a:srgbClr val="4B71B1"/>
                </a:solidFill>
                <a:latin typeface="Arial"/>
              </a:rPr>
              <a:t>with ideas who enjoy </a:t>
            </a:r>
          </a:p>
          <a:p>
            <a:pPr marL="0">
              <a:lnSpc>
                <a:spcPts val="2403"/>
              </a:lnSpc>
            </a:pPr>
            <a:r>
              <a:rPr lang="fr-FR" sz="2027" b="0" i="0" spc="0" baseline="0" dirty="0">
                <a:solidFill>
                  <a:srgbClr val="4B71B1"/>
                </a:solidFill>
                <a:latin typeface="Arial"/>
              </a:rPr>
              <a:t>change and being </a:t>
            </a:r>
          </a:p>
          <a:p>
            <a:pPr marL="0">
              <a:lnSpc>
                <a:spcPts val="2402"/>
              </a:lnSpc>
            </a:pPr>
            <a:r>
              <a:rPr lang="fr-FR" sz="2029" b="0" i="0" spc="0" baseline="0" dirty="0">
                <a:solidFill>
                  <a:srgbClr val="4B71B1"/>
                </a:solidFill>
                <a:latin typeface="Arial"/>
              </a:rPr>
              <a:t>regularl</a:t>
            </a:r>
            <a:r>
              <a:rPr lang="fr-FR" sz="2029" b="0" i="0" spc="489" baseline="0" dirty="0">
                <a:solidFill>
                  <a:srgbClr val="4B71B1"/>
                </a:solidFill>
                <a:latin typeface="Arial"/>
              </a:rPr>
              <a:t>y</a:t>
            </a:r>
            <a:r>
              <a:rPr lang="fr-FR" sz="2029" b="0" i="0" spc="0" baseline="0" dirty="0">
                <a:solidFill>
                  <a:srgbClr val="4B71B1"/>
                </a:solidFill>
                <a:latin typeface="Arial"/>
              </a:rPr>
              <a:t>challenged</a:t>
            </a:r>
          </a:p>
        </p:txBody>
      </p:sp>
      <p:sp>
        <p:nvSpPr>
          <p:cNvPr id="381" name="Rectangle 381"/>
          <p:cNvSpPr/>
          <p:nvPr/>
        </p:nvSpPr>
        <p:spPr>
          <a:xfrm>
            <a:off x="6950075" y="4547185"/>
            <a:ext cx="1009243" cy="67153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179705"/>
            <a:r>
              <a:rPr lang="fr-FR" sz="1425" b="1" i="0" spc="0" baseline="0" dirty="0">
                <a:solidFill>
                  <a:srgbClr val="FFFFFF"/>
                </a:solidFill>
                <a:latin typeface="Arial"/>
              </a:rPr>
              <a:t>Project </a:t>
            </a:r>
          </a:p>
          <a:p>
            <a:pPr marL="0">
              <a:lnSpc>
                <a:spcPts val="1727"/>
              </a:lnSpc>
            </a:pPr>
            <a:r>
              <a:rPr lang="fr-FR" sz="1425" b="1" i="0" spc="0" baseline="0" dirty="0">
                <a:solidFill>
                  <a:srgbClr val="FFFFFF"/>
                </a:solidFill>
                <a:latin typeface="Arial"/>
              </a:rPr>
              <a:t>lengths </a:t>
            </a:r>
            <a:r>
              <a:rPr lang="fr-FR" sz="1425" b="0" i="0" spc="0" baseline="0" dirty="0">
                <a:solidFill>
                  <a:srgbClr val="FFFFFF"/>
                </a:solidFill>
                <a:latin typeface="Arial"/>
              </a:rPr>
              <a:t>can </a:t>
            </a:r>
          </a:p>
          <a:p>
            <a:pPr marL="38100">
              <a:lnSpc>
                <a:spcPts val="1652"/>
              </a:lnSpc>
            </a:pPr>
            <a:r>
              <a:rPr lang="fr-FR" sz="1425" b="0" i="0" spc="0" baseline="0" dirty="0">
                <a:solidFill>
                  <a:srgbClr val="FFFFFF"/>
                </a:solidFill>
                <a:latin typeface="Arial"/>
              </a:rPr>
              <a:t>vary from 4 </a:t>
            </a:r>
          </a:p>
        </p:txBody>
      </p:sp>
      <p:sp>
        <p:nvSpPr>
          <p:cNvPr id="382" name="Rectangle 382"/>
          <p:cNvSpPr/>
          <p:nvPr/>
        </p:nvSpPr>
        <p:spPr>
          <a:xfrm>
            <a:off x="6890384" y="5185637"/>
            <a:ext cx="1126920" cy="46202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week</a:t>
            </a:r>
            <a:r>
              <a:rPr lang="fr-FR" sz="1427" b="0" i="0" spc="335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427" b="0" i="0" spc="335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6/12 </a:t>
            </a:r>
          </a:p>
          <a:p>
            <a:pPr marL="248666">
              <a:lnSpc>
                <a:spcPts val="1727"/>
              </a:lnSpc>
            </a:pP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months</a:t>
            </a:r>
          </a:p>
        </p:txBody>
      </p:sp>
      <p:sp>
        <p:nvSpPr>
          <p:cNvPr id="383" name="Rectangle 383"/>
          <p:cNvSpPr/>
          <p:nvPr/>
        </p:nvSpPr>
        <p:spPr>
          <a:xfrm>
            <a:off x="5673471" y="2453612"/>
            <a:ext cx="1098524" cy="8816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34797"/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Projects can </a:t>
            </a:r>
          </a:p>
          <a:p>
            <a:pPr marL="0">
              <a:lnSpc>
                <a:spcPts val="1727"/>
              </a:lnSpc>
            </a:pP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b</a:t>
            </a:r>
            <a:r>
              <a:rPr lang="fr-FR" sz="1427" b="0" i="0" spc="331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fo</a:t>
            </a:r>
            <a:r>
              <a:rPr lang="fr-FR" sz="1427" b="0" i="0" spc="282" baseline="0" dirty="0">
                <a:solidFill>
                  <a:srgbClr val="FFFFFF"/>
                </a:solidFill>
                <a:latin typeface="Arial"/>
              </a:rPr>
              <a:t>r</a:t>
            </a: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clients </a:t>
            </a:r>
          </a:p>
          <a:p>
            <a:pPr marL="66039">
              <a:lnSpc>
                <a:spcPts val="1652"/>
              </a:lnSpc>
            </a:pP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i</a:t>
            </a:r>
            <a:r>
              <a:rPr lang="fr-FR" sz="1427" b="1" i="0" spc="386" baseline="0" dirty="0">
                <a:solidFill>
                  <a:srgbClr val="FFFFFF"/>
                </a:solidFill>
                <a:latin typeface="Arial"/>
              </a:rPr>
              <a:t>n</a:t>
            </a: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al</a:t>
            </a:r>
            <a:r>
              <a:rPr lang="fr-FR" sz="1427" b="1" i="0" spc="363" baseline="0" dirty="0">
                <a:solidFill>
                  <a:srgbClr val="FFFFFF"/>
                </a:solidFill>
                <a:latin typeface="Arial"/>
              </a:rPr>
              <a:t>l</a:t>
            </a: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kinds </a:t>
            </a:r>
          </a:p>
          <a:p>
            <a:pPr marL="141223">
              <a:lnSpc>
                <a:spcPts val="1651"/>
              </a:lnSpc>
            </a:pP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427" b="0" i="0" spc="373" baseline="0" dirty="0">
                <a:solidFill>
                  <a:srgbClr val="FFFFFF"/>
                </a:solidFill>
                <a:latin typeface="Arial"/>
              </a:rPr>
              <a:t>f</a:t>
            </a: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sectors</a:t>
            </a:r>
          </a:p>
        </p:txBody>
      </p:sp>
      <p:sp>
        <p:nvSpPr>
          <p:cNvPr id="384" name="Rectangle 384"/>
          <p:cNvSpPr/>
          <p:nvPr/>
        </p:nvSpPr>
        <p:spPr>
          <a:xfrm>
            <a:off x="3370326" y="3872457"/>
            <a:ext cx="1310489" cy="11010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160273"/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Each project </a:t>
            </a:r>
          </a:p>
          <a:p>
            <a:pPr marL="113664">
              <a:lnSpc>
                <a:spcPts val="1727"/>
              </a:lnSpc>
            </a:pP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represent</a:t>
            </a:r>
            <a:r>
              <a:rPr lang="fr-FR" sz="1427" b="0" i="0" spc="719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a </a:t>
            </a:r>
          </a:p>
          <a:p>
            <a:pPr marL="117475">
              <a:lnSpc>
                <a:spcPts val="1652"/>
              </a:lnSpc>
            </a:pP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key business </a:t>
            </a:r>
          </a:p>
          <a:p>
            <a:pPr marL="0">
              <a:lnSpc>
                <a:spcPts val="1652"/>
              </a:lnSpc>
            </a:pP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problem</a:t>
            </a:r>
            <a:r>
              <a:rPr lang="fr-FR" sz="1427" b="0" i="0" spc="319" baseline="0" dirty="0">
                <a:solidFill>
                  <a:srgbClr val="FFFFFF"/>
                </a:solidFill>
                <a:latin typeface="Arial"/>
              </a:rPr>
              <a:t>,a</a:t>
            </a: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case </a:t>
            </a:r>
          </a:p>
          <a:p>
            <a:pPr marL="204977">
              <a:lnSpc>
                <a:spcPts val="1726"/>
              </a:lnSpc>
            </a:pPr>
            <a:r>
              <a:rPr lang="fr-FR" sz="1425" b="1" i="0" spc="0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425" b="1" i="0" spc="359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425" b="1" i="0" spc="0" baseline="0" dirty="0">
                <a:solidFill>
                  <a:srgbClr val="FFFFFF"/>
                </a:solidFill>
                <a:latin typeface="Arial"/>
              </a:rPr>
              <a:t>“crack”</a:t>
            </a:r>
          </a:p>
        </p:txBody>
      </p:sp>
      <p:sp>
        <p:nvSpPr>
          <p:cNvPr id="385" name="Rectangle 385"/>
          <p:cNvSpPr/>
          <p:nvPr/>
        </p:nvSpPr>
        <p:spPr>
          <a:xfrm>
            <a:off x="1159510" y="4722213"/>
            <a:ext cx="924382" cy="46189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170179"/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Teams </a:t>
            </a:r>
          </a:p>
          <a:p>
            <a:pPr marL="0">
              <a:lnSpc>
                <a:spcPts val="1727"/>
              </a:lnSpc>
            </a:pP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change </a:t>
            </a: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for </a:t>
            </a:r>
          </a:p>
        </p:txBody>
      </p:sp>
      <p:sp>
        <p:nvSpPr>
          <p:cNvPr id="386" name="Rectangle 386"/>
          <p:cNvSpPr/>
          <p:nvPr/>
        </p:nvSpPr>
        <p:spPr>
          <a:xfrm>
            <a:off x="1114107" y="5151474"/>
            <a:ext cx="965369" cy="24256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eac</a:t>
            </a:r>
            <a:r>
              <a:rPr lang="fr-FR" sz="1427" b="0" i="0" spc="342" baseline="0" dirty="0">
                <a:solidFill>
                  <a:srgbClr val="FFFFFF"/>
                </a:solidFill>
                <a:latin typeface="Arial"/>
              </a:rPr>
              <a:t>h</a:t>
            </a: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project</a:t>
            </a:r>
          </a:p>
        </p:txBody>
      </p:sp>
      <p:sp>
        <p:nvSpPr>
          <p:cNvPr id="387" name="Rectangle 387"/>
          <p:cNvSpPr/>
          <p:nvPr/>
        </p:nvSpPr>
        <p:spPr>
          <a:xfrm>
            <a:off x="838517" y="2534893"/>
            <a:ext cx="1087580" cy="67182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239077"/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Project </a:t>
            </a:r>
          </a:p>
          <a:p>
            <a:pPr marL="0">
              <a:lnSpc>
                <a:spcPts val="1726"/>
              </a:lnSpc>
            </a:pP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nature</a:t>
            </a:r>
            <a:r>
              <a:rPr lang="fr-FR" sz="1427" b="1" i="0" spc="315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fr-FR" sz="1427" b="1" i="0" spc="0" baseline="0" dirty="0">
                <a:solidFill>
                  <a:srgbClr val="FFFFFF"/>
                </a:solidFill>
                <a:latin typeface="Arial"/>
              </a:rPr>
              <a:t>vary </a:t>
            </a:r>
          </a:p>
          <a:p>
            <a:pPr marL="252412">
              <a:lnSpc>
                <a:spcPts val="1652"/>
              </a:lnSpc>
            </a:pPr>
            <a:r>
              <a:rPr lang="fr-FR" sz="1427" b="0" i="0" spc="0" baseline="0" dirty="0">
                <a:solidFill>
                  <a:srgbClr val="FFFFFF"/>
                </a:solidFill>
                <a:latin typeface="Arial"/>
              </a:rPr>
              <a:t>greatly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6" name="think-cell data - do not delete" hidden="1">
            <a:extLst>
              <a:ext uri="{FF2B5EF4-FFF2-40B4-BE49-F238E27FC236}">
                <a16:creationId xmlns:a16="http://schemas.microsoft.com/office/drawing/2014/main" id="{1660F9E8-6A86-C51A-4B71-393E8ACAF9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1826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6" name="Freeform 4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417" name="Freeform 417"/>
          <p:cNvSpPr/>
          <p:nvPr/>
        </p:nvSpPr>
        <p:spPr>
          <a:xfrm>
            <a:off x="671512" y="1147729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noFill/>
          <a:ln w="10666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pic>
        <p:nvPicPr>
          <p:cNvPr id="418" name="Picture 418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419" name="Freeform 419"/>
          <p:cNvSpPr/>
          <p:nvPr/>
        </p:nvSpPr>
        <p:spPr>
          <a:xfrm>
            <a:off x="666750" y="1143030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420" name="Freeform 420"/>
          <p:cNvSpPr/>
          <p:nvPr/>
        </p:nvSpPr>
        <p:spPr>
          <a:xfrm>
            <a:off x="671512" y="1147729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noFill/>
          <a:ln w="10666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433" name="Freeform 433"/>
          <p:cNvSpPr/>
          <p:nvPr/>
        </p:nvSpPr>
        <p:spPr>
          <a:xfrm>
            <a:off x="6852122" y="5959092"/>
            <a:ext cx="148464" cy="57519"/>
          </a:xfrm>
          <a:custGeom>
            <a:avLst/>
            <a:gdLst/>
            <a:ahLst/>
            <a:cxnLst/>
            <a:rect l="0" t="0" r="0" b="0"/>
            <a:pathLst>
              <a:path w="148464" h="57519">
                <a:moveTo>
                  <a:pt x="148464" y="28753"/>
                </a:moveTo>
                <a:lnTo>
                  <a:pt x="141479" y="8992"/>
                </a:lnTo>
                <a:lnTo>
                  <a:pt x="120650" y="0"/>
                </a:lnTo>
                <a:lnTo>
                  <a:pt x="27686" y="0"/>
                </a:lnTo>
                <a:lnTo>
                  <a:pt x="6985" y="8992"/>
                </a:lnTo>
                <a:lnTo>
                  <a:pt x="0" y="28753"/>
                </a:lnTo>
                <a:lnTo>
                  <a:pt x="6985" y="48527"/>
                </a:lnTo>
                <a:lnTo>
                  <a:pt x="27686" y="57519"/>
                </a:lnTo>
                <a:lnTo>
                  <a:pt x="120650" y="57519"/>
                </a:lnTo>
                <a:lnTo>
                  <a:pt x="141479" y="48527"/>
                </a:lnTo>
                <a:lnTo>
                  <a:pt x="148464" y="28753"/>
                </a:lnTo>
                <a:close/>
                <a:moveTo>
                  <a:pt x="-5979007" y="89263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434" name="Freeform 434"/>
          <p:cNvSpPr/>
          <p:nvPr/>
        </p:nvSpPr>
        <p:spPr>
          <a:xfrm>
            <a:off x="0" y="4724400"/>
            <a:ext cx="2105025" cy="2133218"/>
          </a:xfrm>
          <a:custGeom>
            <a:avLst/>
            <a:gdLst/>
            <a:ahLst/>
            <a:cxnLst/>
            <a:rect l="0" t="0" r="0" b="0"/>
            <a:pathLst>
              <a:path w="2105025" h="2133218">
                <a:moveTo>
                  <a:pt x="519391" y="0"/>
                </a:moveTo>
                <a:lnTo>
                  <a:pt x="470916" y="762"/>
                </a:lnTo>
                <a:lnTo>
                  <a:pt x="422795" y="2921"/>
                </a:lnTo>
                <a:lnTo>
                  <a:pt x="375069" y="6477"/>
                </a:lnTo>
                <a:lnTo>
                  <a:pt x="327736" y="11430"/>
                </a:lnTo>
                <a:lnTo>
                  <a:pt x="280835" y="17780"/>
                </a:lnTo>
                <a:lnTo>
                  <a:pt x="234365" y="25527"/>
                </a:lnTo>
                <a:lnTo>
                  <a:pt x="188379" y="34545"/>
                </a:lnTo>
                <a:lnTo>
                  <a:pt x="142875" y="44958"/>
                </a:lnTo>
                <a:lnTo>
                  <a:pt x="97867" y="56515"/>
                </a:lnTo>
                <a:lnTo>
                  <a:pt x="53394" y="69470"/>
                </a:lnTo>
                <a:lnTo>
                  <a:pt x="9468" y="83693"/>
                </a:lnTo>
                <a:lnTo>
                  <a:pt x="0" y="86996"/>
                </a:lnTo>
                <a:lnTo>
                  <a:pt x="0" y="2133218"/>
                </a:lnTo>
                <a:lnTo>
                  <a:pt x="2006854" y="2133218"/>
                </a:lnTo>
                <a:lnTo>
                  <a:pt x="2021204" y="2092798"/>
                </a:lnTo>
                <a:lnTo>
                  <a:pt x="2035429" y="2048931"/>
                </a:lnTo>
                <a:lnTo>
                  <a:pt x="2048382" y="2004518"/>
                </a:lnTo>
                <a:lnTo>
                  <a:pt x="2060067" y="1959572"/>
                </a:lnTo>
                <a:lnTo>
                  <a:pt x="2070480" y="1914132"/>
                </a:lnTo>
                <a:lnTo>
                  <a:pt x="2079498" y="1868196"/>
                </a:lnTo>
                <a:lnTo>
                  <a:pt x="2087245" y="1821790"/>
                </a:lnTo>
                <a:lnTo>
                  <a:pt x="2093595" y="1774953"/>
                </a:lnTo>
                <a:lnTo>
                  <a:pt x="2098548" y="1727683"/>
                </a:lnTo>
                <a:lnTo>
                  <a:pt x="2102104" y="1680007"/>
                </a:lnTo>
                <a:lnTo>
                  <a:pt x="2104263" y="1631963"/>
                </a:lnTo>
                <a:lnTo>
                  <a:pt x="2105025" y="1583551"/>
                </a:lnTo>
                <a:lnTo>
                  <a:pt x="2104263" y="1535126"/>
                </a:lnTo>
                <a:lnTo>
                  <a:pt x="2102104" y="1487082"/>
                </a:lnTo>
                <a:lnTo>
                  <a:pt x="2098548" y="1439406"/>
                </a:lnTo>
                <a:lnTo>
                  <a:pt x="2093595" y="1392136"/>
                </a:lnTo>
                <a:lnTo>
                  <a:pt x="2087245" y="1345286"/>
                </a:lnTo>
                <a:lnTo>
                  <a:pt x="2079498" y="1298880"/>
                </a:lnTo>
                <a:lnTo>
                  <a:pt x="2070480" y="1252944"/>
                </a:lnTo>
                <a:lnTo>
                  <a:pt x="2060067" y="1207504"/>
                </a:lnTo>
                <a:lnTo>
                  <a:pt x="2048382" y="1162559"/>
                </a:lnTo>
                <a:lnTo>
                  <a:pt x="2035429" y="1118134"/>
                </a:lnTo>
                <a:lnTo>
                  <a:pt x="2021204" y="1074268"/>
                </a:lnTo>
                <a:lnTo>
                  <a:pt x="2005838" y="1030974"/>
                </a:lnTo>
                <a:lnTo>
                  <a:pt x="1989201" y="988264"/>
                </a:lnTo>
                <a:lnTo>
                  <a:pt x="1971294" y="946163"/>
                </a:lnTo>
                <a:lnTo>
                  <a:pt x="1952370" y="904685"/>
                </a:lnTo>
                <a:lnTo>
                  <a:pt x="1932177" y="863867"/>
                </a:lnTo>
                <a:lnTo>
                  <a:pt x="1910969" y="823723"/>
                </a:lnTo>
                <a:lnTo>
                  <a:pt x="1888489" y="784225"/>
                </a:lnTo>
                <a:lnTo>
                  <a:pt x="1864995" y="745490"/>
                </a:lnTo>
                <a:lnTo>
                  <a:pt x="1840483" y="707517"/>
                </a:lnTo>
                <a:lnTo>
                  <a:pt x="1814957" y="670306"/>
                </a:lnTo>
                <a:lnTo>
                  <a:pt x="1788286" y="633858"/>
                </a:lnTo>
                <a:lnTo>
                  <a:pt x="1760727" y="598170"/>
                </a:lnTo>
                <a:lnTo>
                  <a:pt x="1732152" y="563245"/>
                </a:lnTo>
                <a:lnTo>
                  <a:pt x="1702561" y="529209"/>
                </a:lnTo>
                <a:lnTo>
                  <a:pt x="1672082" y="496062"/>
                </a:lnTo>
                <a:lnTo>
                  <a:pt x="1640585" y="463805"/>
                </a:lnTo>
                <a:lnTo>
                  <a:pt x="1608200" y="432436"/>
                </a:lnTo>
                <a:lnTo>
                  <a:pt x="1575053" y="401955"/>
                </a:lnTo>
                <a:lnTo>
                  <a:pt x="1541017" y="372365"/>
                </a:lnTo>
                <a:lnTo>
                  <a:pt x="1506092" y="343790"/>
                </a:lnTo>
                <a:lnTo>
                  <a:pt x="1470405" y="316230"/>
                </a:lnTo>
                <a:lnTo>
                  <a:pt x="1433830" y="289687"/>
                </a:lnTo>
                <a:lnTo>
                  <a:pt x="1396491" y="264161"/>
                </a:lnTo>
                <a:lnTo>
                  <a:pt x="1358519" y="239649"/>
                </a:lnTo>
                <a:lnTo>
                  <a:pt x="1319657" y="216155"/>
                </a:lnTo>
                <a:lnTo>
                  <a:pt x="1280160" y="193802"/>
                </a:lnTo>
                <a:lnTo>
                  <a:pt x="1239977" y="172593"/>
                </a:lnTo>
                <a:lnTo>
                  <a:pt x="1199108" y="152400"/>
                </a:lnTo>
                <a:lnTo>
                  <a:pt x="1157579" y="133477"/>
                </a:lnTo>
                <a:lnTo>
                  <a:pt x="1115428" y="115698"/>
                </a:lnTo>
                <a:lnTo>
                  <a:pt x="1072654" y="99061"/>
                </a:lnTo>
                <a:lnTo>
                  <a:pt x="1029309" y="83693"/>
                </a:lnTo>
                <a:lnTo>
                  <a:pt x="985380" y="69470"/>
                </a:lnTo>
                <a:lnTo>
                  <a:pt x="940904" y="56515"/>
                </a:lnTo>
                <a:lnTo>
                  <a:pt x="895908" y="44958"/>
                </a:lnTo>
                <a:lnTo>
                  <a:pt x="850404" y="34545"/>
                </a:lnTo>
                <a:lnTo>
                  <a:pt x="804405" y="25527"/>
                </a:lnTo>
                <a:lnTo>
                  <a:pt x="757948" y="17780"/>
                </a:lnTo>
                <a:lnTo>
                  <a:pt x="711034" y="11430"/>
                </a:lnTo>
                <a:lnTo>
                  <a:pt x="663714" y="6477"/>
                </a:lnTo>
                <a:lnTo>
                  <a:pt x="615975" y="2921"/>
                </a:lnTo>
                <a:lnTo>
                  <a:pt x="567867" y="762"/>
                </a:lnTo>
                <a:lnTo>
                  <a:pt x="519391" y="0"/>
                </a:lnTo>
                <a:close/>
                <a:moveTo>
                  <a:pt x="2133600" y="2133600"/>
                </a:moveTo>
              </a:path>
            </a:pathLst>
          </a:custGeom>
          <a:solidFill>
            <a:srgbClr val="7DACE1">
              <a:alpha val="6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435" name="Freeform 435"/>
          <p:cNvSpPr/>
          <p:nvPr/>
        </p:nvSpPr>
        <p:spPr>
          <a:xfrm>
            <a:off x="2748026" y="2481327"/>
            <a:ext cx="3599814" cy="0"/>
          </a:xfrm>
          <a:custGeom>
            <a:avLst/>
            <a:gdLst/>
            <a:ahLst/>
            <a:cxnLst/>
            <a:rect l="0" t="0" r="0" b="0"/>
            <a:pathLst>
              <a:path w="3599814">
                <a:moveTo>
                  <a:pt x="0" y="0"/>
                </a:moveTo>
                <a:lnTo>
                  <a:pt x="3599814" y="0"/>
                </a:lnTo>
              </a:path>
            </a:pathLst>
          </a:custGeom>
          <a:noFill/>
          <a:ln w="914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436" name="Freeform 436"/>
          <p:cNvSpPr/>
          <p:nvPr/>
        </p:nvSpPr>
        <p:spPr>
          <a:xfrm>
            <a:off x="2748026" y="3453004"/>
            <a:ext cx="5052694" cy="0"/>
          </a:xfrm>
          <a:custGeom>
            <a:avLst/>
            <a:gdLst/>
            <a:ahLst/>
            <a:cxnLst/>
            <a:rect l="0" t="0" r="0" b="0"/>
            <a:pathLst>
              <a:path w="5052694">
                <a:moveTo>
                  <a:pt x="0" y="0"/>
                </a:moveTo>
                <a:lnTo>
                  <a:pt x="5052694" y="0"/>
                </a:lnTo>
              </a:path>
            </a:pathLst>
          </a:custGeom>
          <a:noFill/>
          <a:ln w="914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437" name="Freeform 437"/>
          <p:cNvSpPr/>
          <p:nvPr/>
        </p:nvSpPr>
        <p:spPr>
          <a:xfrm>
            <a:off x="2748026" y="4426205"/>
            <a:ext cx="5771133" cy="0"/>
          </a:xfrm>
          <a:custGeom>
            <a:avLst/>
            <a:gdLst/>
            <a:ahLst/>
            <a:cxnLst/>
            <a:rect l="0" t="0" r="0" b="0"/>
            <a:pathLst>
              <a:path w="5771133">
                <a:moveTo>
                  <a:pt x="0" y="0"/>
                </a:moveTo>
                <a:lnTo>
                  <a:pt x="5771133" y="0"/>
                </a:lnTo>
              </a:path>
            </a:pathLst>
          </a:custGeom>
          <a:noFill/>
          <a:ln w="914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438" name="Freeform 438"/>
          <p:cNvSpPr/>
          <p:nvPr/>
        </p:nvSpPr>
        <p:spPr>
          <a:xfrm>
            <a:off x="2748026" y="5490845"/>
            <a:ext cx="6400800" cy="0"/>
          </a:xfrm>
          <a:custGeom>
            <a:avLst/>
            <a:gdLst/>
            <a:ahLst/>
            <a:cxnLst/>
            <a:rect l="0" t="0" r="0" b="0"/>
            <a:pathLst>
              <a:path w="6400800">
                <a:moveTo>
                  <a:pt x="0" y="0"/>
                </a:moveTo>
                <a:lnTo>
                  <a:pt x="6400800" y="0"/>
                </a:lnTo>
              </a:path>
            </a:pathLst>
          </a:custGeom>
          <a:noFill/>
          <a:ln w="9144" cap="flat" cmpd="sng">
            <a:solidFill>
              <a:srgbClr val="FFFFFF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439" name="Rectangle 439"/>
          <p:cNvSpPr/>
          <p:nvPr/>
        </p:nvSpPr>
        <p:spPr>
          <a:xfrm>
            <a:off x="11308115" y="6400508"/>
            <a:ext cx="137858" cy="15004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rtl="0"/>
            <a:r>
              <a:rPr lang="en-US" sz="975" b="0" i="0" spc="0" baseline="0" dirty="0">
                <a:solidFill>
                  <a:srgbClr val="7F7F7F"/>
                </a:solidFill>
                <a:latin typeface="Arial"/>
              </a:rPr>
              <a:t>12</a:t>
            </a:r>
          </a:p>
        </p:txBody>
      </p:sp>
      <p:sp>
        <p:nvSpPr>
          <p:cNvPr id="440" name="Rectangle 440"/>
          <p:cNvSpPr/>
          <p:nvPr/>
        </p:nvSpPr>
        <p:spPr>
          <a:xfrm>
            <a:off x="630555" y="488768"/>
            <a:ext cx="9308830" cy="55463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rtl="0"/>
            <a:r>
              <a:rPr lang="en-US" sz="3604" b="1" i="0" spc="0" baseline="0" dirty="0">
                <a:solidFill>
                  <a:srgbClr val="FFFFFF"/>
                </a:solidFill>
                <a:latin typeface="Arial"/>
              </a:rPr>
              <a:t>Consulting</a:t>
            </a:r>
            <a:r>
              <a:rPr lang="en-US" sz="3604" b="1" spc="989" dirty="0">
                <a:solidFill>
                  <a:srgbClr val="FFFFFF"/>
                </a:solidFill>
                <a:latin typeface="Arial"/>
              </a:rPr>
              <a:t>,</a:t>
            </a:r>
            <a:r>
              <a:rPr lang="en-US" sz="3604" b="1" dirty="0">
                <a:solidFill>
                  <a:srgbClr val="FFFFFF"/>
                </a:solidFill>
                <a:latin typeface="Arial"/>
              </a:rPr>
              <a:t> School after Business School</a:t>
            </a:r>
            <a:endParaRPr lang="en-US" sz="3604" b="1" i="0" spc="0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1" name="Rectangle 441"/>
          <p:cNvSpPr/>
          <p:nvPr/>
        </p:nvSpPr>
        <p:spPr>
          <a:xfrm>
            <a:off x="3629278" y="1666060"/>
            <a:ext cx="2505173" cy="1849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rtl="0"/>
            <a:r>
              <a:rPr lang="en-US" sz="1202" b="1" i="0" spc="0" baseline="0" dirty="0">
                <a:solidFill>
                  <a:srgbClr val="FFFFFF"/>
                </a:solidFill>
                <a:latin typeface="Arial"/>
              </a:rPr>
              <a:t>Partne</a:t>
            </a:r>
            <a:r>
              <a:rPr lang="en-US" sz="1202" b="1" i="0" spc="668" baseline="0" dirty="0">
                <a:solidFill>
                  <a:srgbClr val="FFFFFF"/>
                </a:solidFill>
                <a:latin typeface="Arial"/>
              </a:rPr>
              <a:t>r</a:t>
            </a:r>
            <a:r>
              <a:rPr lang="en-US" sz="1202" b="1" i="0" spc="0" baseline="0" dirty="0">
                <a:solidFill>
                  <a:srgbClr val="FFFFFF"/>
                </a:solidFill>
                <a:latin typeface="Arial"/>
              </a:rPr>
              <a:t>(+1</a:t>
            </a:r>
            <a:r>
              <a:rPr lang="en-US" sz="1202" b="1" i="0" spc="339" baseline="0" dirty="0">
                <a:solidFill>
                  <a:srgbClr val="FFFFFF"/>
                </a:solidFill>
                <a:latin typeface="Arial"/>
              </a:rPr>
              <a:t>0</a:t>
            </a:r>
            <a:r>
              <a:rPr lang="en-US" sz="1202" b="1" i="0" spc="0" baseline="0" dirty="0">
                <a:solidFill>
                  <a:srgbClr val="FFFFFF"/>
                </a:solidFill>
                <a:latin typeface="Arial"/>
              </a:rPr>
              <a:t>year</a:t>
            </a:r>
            <a:r>
              <a:rPr lang="en-US" sz="1202" b="1" i="0" spc="341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en-US" sz="1202" b="1" i="0" spc="0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en-US" sz="1202" b="1" i="0" spc="337" baseline="0" dirty="0">
                <a:solidFill>
                  <a:srgbClr val="FFFFFF"/>
                </a:solidFill>
                <a:latin typeface="Arial"/>
              </a:rPr>
              <a:t>f</a:t>
            </a:r>
            <a:r>
              <a:rPr lang="en-US" sz="1202" b="1" i="0" spc="0" baseline="0" dirty="0">
                <a:solidFill>
                  <a:srgbClr val="FFFFFF"/>
                </a:solidFill>
                <a:latin typeface="Arial"/>
              </a:rPr>
              <a:t>experience) </a:t>
            </a:r>
          </a:p>
        </p:txBody>
      </p:sp>
      <p:sp>
        <p:nvSpPr>
          <p:cNvPr id="443" name="Rectangle 443"/>
          <p:cNvSpPr/>
          <p:nvPr/>
        </p:nvSpPr>
        <p:spPr>
          <a:xfrm>
            <a:off x="4397121" y="2562680"/>
            <a:ext cx="3126946" cy="1849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rtl="0"/>
            <a:r>
              <a:rPr lang="en-US" sz="1202" b="1" i="0" spc="0" baseline="0" dirty="0">
                <a:solidFill>
                  <a:srgbClr val="FFFFFF"/>
                </a:solidFill>
                <a:latin typeface="Arial"/>
              </a:rPr>
              <a:t>Senior Manage</a:t>
            </a:r>
            <a:r>
              <a:rPr lang="en-US" sz="1202" b="1" i="0" spc="346" baseline="0" dirty="0">
                <a:solidFill>
                  <a:srgbClr val="FFFFFF"/>
                </a:solidFill>
                <a:latin typeface="Arial"/>
              </a:rPr>
              <a:t>r</a:t>
            </a:r>
            <a:r>
              <a:rPr lang="en-US" sz="1202" b="1" i="0" spc="0" baseline="0" dirty="0">
                <a:solidFill>
                  <a:srgbClr val="FFFFFF"/>
                </a:solidFill>
                <a:latin typeface="Arial"/>
              </a:rPr>
              <a:t>(7-10 years of experience) </a:t>
            </a:r>
          </a:p>
        </p:txBody>
      </p:sp>
      <p:sp>
        <p:nvSpPr>
          <p:cNvPr id="445" name="Rectangle 445"/>
          <p:cNvSpPr/>
          <p:nvPr/>
        </p:nvSpPr>
        <p:spPr>
          <a:xfrm>
            <a:off x="5101590" y="3650412"/>
            <a:ext cx="2459006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rtl="0"/>
            <a:r>
              <a:rPr lang="en-US" sz="1200" b="1" i="0" spc="0" baseline="0" dirty="0">
                <a:solidFill>
                  <a:srgbClr val="FFFFFF"/>
                </a:solidFill>
                <a:latin typeface="Arial"/>
              </a:rPr>
              <a:t>Manage</a:t>
            </a:r>
            <a:r>
              <a:rPr lang="en-US" sz="1200" b="1" i="0" spc="265" baseline="0" dirty="0">
                <a:solidFill>
                  <a:srgbClr val="FFFFFF"/>
                </a:solidFill>
                <a:latin typeface="Arial"/>
              </a:rPr>
              <a:t>r</a:t>
            </a:r>
            <a:r>
              <a:rPr lang="en-US" sz="1200" b="1" i="0" spc="0" baseline="0" dirty="0">
                <a:solidFill>
                  <a:srgbClr val="FFFFFF"/>
                </a:solidFill>
                <a:latin typeface="Arial"/>
              </a:rPr>
              <a:t>(5-</a:t>
            </a:r>
            <a:r>
              <a:rPr lang="en-US" sz="1200" b="1" i="0" spc="304" baseline="0" dirty="0">
                <a:solidFill>
                  <a:srgbClr val="FFFFFF"/>
                </a:solidFill>
                <a:latin typeface="Arial"/>
              </a:rPr>
              <a:t>7</a:t>
            </a:r>
            <a:r>
              <a:rPr lang="en-US" sz="1200" b="1" i="0" spc="0" baseline="0" dirty="0">
                <a:solidFill>
                  <a:srgbClr val="FFFFFF"/>
                </a:solidFill>
                <a:latin typeface="Arial"/>
              </a:rPr>
              <a:t>year</a:t>
            </a:r>
            <a:r>
              <a:rPr lang="en-US" sz="1200" b="1" i="0" spc="336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en-US" sz="1200" b="1" i="0" spc="0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en-US" sz="1200" b="1" i="0" spc="320" baseline="0" dirty="0">
                <a:solidFill>
                  <a:srgbClr val="FFFFFF"/>
                </a:solidFill>
                <a:latin typeface="Arial"/>
              </a:rPr>
              <a:t>f</a:t>
            </a:r>
            <a:r>
              <a:rPr lang="en-US" sz="1200" b="1" i="0" spc="0" baseline="0" dirty="0">
                <a:solidFill>
                  <a:srgbClr val="FFFFFF"/>
                </a:solidFill>
                <a:latin typeface="Arial"/>
              </a:rPr>
              <a:t>experience)</a:t>
            </a:r>
          </a:p>
        </p:txBody>
      </p:sp>
      <p:sp>
        <p:nvSpPr>
          <p:cNvPr id="448" name="Rectangle 448"/>
          <p:cNvSpPr/>
          <p:nvPr/>
        </p:nvSpPr>
        <p:spPr>
          <a:xfrm>
            <a:off x="5951220" y="4585259"/>
            <a:ext cx="316201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rtl="0"/>
            <a:r>
              <a:rPr lang="en-US" sz="1200" b="1" i="0" spc="0" baseline="0" dirty="0" err="1">
                <a:solidFill>
                  <a:srgbClr val="FFFFFF"/>
                </a:solidFill>
                <a:latin typeface="Arial"/>
              </a:rPr>
              <a:t>Senio</a:t>
            </a:r>
            <a:r>
              <a:rPr lang="en-US" sz="1200" b="1" i="0" spc="298" baseline="0" dirty="0" err="1">
                <a:solidFill>
                  <a:srgbClr val="FFFFFF"/>
                </a:solidFill>
                <a:latin typeface="Arial"/>
              </a:rPr>
              <a:t>r</a:t>
            </a:r>
            <a:r>
              <a:rPr lang="en-US" sz="1200" b="1" i="0" spc="0" baseline="0" dirty="0" err="1">
                <a:solidFill>
                  <a:srgbClr val="FFFFFF"/>
                </a:solidFill>
                <a:latin typeface="Arial"/>
              </a:rPr>
              <a:t>Consultan</a:t>
            </a:r>
            <a:r>
              <a:rPr lang="en-US" sz="1200" b="1" i="0" spc="330" baseline="0" dirty="0" err="1">
                <a:solidFill>
                  <a:srgbClr val="FFFFFF"/>
                </a:solidFill>
                <a:latin typeface="Arial"/>
              </a:rPr>
              <a:t>t</a:t>
            </a:r>
            <a:r>
              <a:rPr lang="en-US" sz="1200" b="1" i="0" spc="0" baseline="0" dirty="0">
                <a:solidFill>
                  <a:srgbClr val="FFFFFF"/>
                </a:solidFill>
                <a:latin typeface="Arial"/>
              </a:rPr>
              <a:t>(3-</a:t>
            </a:r>
            <a:r>
              <a:rPr lang="en-US" sz="1200" b="1" i="0" spc="312" baseline="0" dirty="0">
                <a:solidFill>
                  <a:srgbClr val="FFFFFF"/>
                </a:solidFill>
                <a:latin typeface="Arial"/>
              </a:rPr>
              <a:t>5</a:t>
            </a:r>
            <a:r>
              <a:rPr lang="en-US" sz="1200" b="1" i="0" spc="0" baseline="0" dirty="0">
                <a:solidFill>
                  <a:srgbClr val="FFFFFF"/>
                </a:solidFill>
                <a:latin typeface="Arial"/>
              </a:rPr>
              <a:t>year</a:t>
            </a:r>
            <a:r>
              <a:rPr lang="en-US" sz="1200" b="1" i="0" spc="342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en-US" sz="1200" b="1" i="0" spc="0" baseline="0" dirty="0">
                <a:solidFill>
                  <a:srgbClr val="FFFFFF"/>
                </a:solidFill>
                <a:latin typeface="Arial"/>
              </a:rPr>
              <a:t>of experience)</a:t>
            </a:r>
          </a:p>
        </p:txBody>
      </p:sp>
      <p:sp>
        <p:nvSpPr>
          <p:cNvPr id="451" name="Rectangle 451"/>
          <p:cNvSpPr/>
          <p:nvPr/>
        </p:nvSpPr>
        <p:spPr>
          <a:xfrm>
            <a:off x="6939822" y="5684178"/>
            <a:ext cx="3278077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rtl="0"/>
            <a:r>
              <a:rPr lang="en-US" sz="1200" b="1" i="0" spc="0" baseline="0" dirty="0" err="1">
                <a:solidFill>
                  <a:srgbClr val="FFFFFF"/>
                </a:solidFill>
                <a:latin typeface="Arial"/>
              </a:rPr>
              <a:t>Junio</a:t>
            </a:r>
            <a:r>
              <a:rPr lang="en-US" sz="1200" b="1" i="0" spc="382" baseline="0" dirty="0" err="1">
                <a:solidFill>
                  <a:srgbClr val="FFFFFF"/>
                </a:solidFill>
                <a:latin typeface="Arial"/>
              </a:rPr>
              <a:t>r</a:t>
            </a:r>
            <a:r>
              <a:rPr lang="en-US" sz="1200" b="1" i="0" spc="0" baseline="0" dirty="0" err="1">
                <a:solidFill>
                  <a:srgbClr val="FFFFFF"/>
                </a:solidFill>
                <a:latin typeface="Arial"/>
              </a:rPr>
              <a:t>Consultan</a:t>
            </a:r>
            <a:r>
              <a:rPr lang="en-US" sz="1200" b="1" i="0" spc="385" baseline="0" dirty="0" err="1">
                <a:solidFill>
                  <a:srgbClr val="FFFFFF"/>
                </a:solidFill>
                <a:latin typeface="Arial"/>
              </a:rPr>
              <a:t>t</a:t>
            </a:r>
            <a:r>
              <a:rPr lang="en-US" sz="1200" b="1" i="0" spc="0" baseline="0" dirty="0">
                <a:solidFill>
                  <a:srgbClr val="FFFFFF"/>
                </a:solidFill>
                <a:latin typeface="Arial"/>
              </a:rPr>
              <a:t> (1-</a:t>
            </a:r>
            <a:r>
              <a:rPr lang="en-US" sz="1200" b="1" i="0" spc="379" baseline="0" dirty="0">
                <a:solidFill>
                  <a:srgbClr val="FFFFFF"/>
                </a:solidFill>
                <a:latin typeface="Arial"/>
              </a:rPr>
              <a:t>3</a:t>
            </a:r>
            <a:r>
              <a:rPr lang="en-US" sz="1200" b="1" i="0" spc="0" baseline="0" dirty="0">
                <a:solidFill>
                  <a:srgbClr val="FFFFFF"/>
                </a:solidFill>
                <a:latin typeface="Arial"/>
              </a:rPr>
              <a:t>year</a:t>
            </a:r>
            <a:r>
              <a:rPr lang="en-US" sz="1200" b="1" i="0" spc="387" baseline="0" dirty="0">
                <a:solidFill>
                  <a:srgbClr val="FFFFFF"/>
                </a:solidFill>
                <a:latin typeface="Arial"/>
              </a:rPr>
              <a:t>s</a:t>
            </a:r>
            <a:r>
              <a:rPr lang="en-US" sz="1200" b="1" i="0" spc="0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en-US" sz="1200" b="1" i="0" spc="379" baseline="0" dirty="0">
                <a:solidFill>
                  <a:srgbClr val="FFFFFF"/>
                </a:solidFill>
                <a:latin typeface="Arial"/>
              </a:rPr>
              <a:t>f</a:t>
            </a:r>
            <a:r>
              <a:rPr lang="en-US" sz="1200" b="1" i="0" spc="0" baseline="0" dirty="0">
                <a:solidFill>
                  <a:srgbClr val="FFFFFF"/>
                </a:solidFill>
                <a:latin typeface="Arial"/>
              </a:rPr>
              <a:t>experience) </a:t>
            </a:r>
          </a:p>
        </p:txBody>
      </p:sp>
      <p:sp>
        <p:nvSpPr>
          <p:cNvPr id="452" name="Rectangle 452"/>
          <p:cNvSpPr/>
          <p:nvPr/>
        </p:nvSpPr>
        <p:spPr>
          <a:xfrm>
            <a:off x="7117114" y="5865471"/>
            <a:ext cx="2008413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rtl="0"/>
            <a:r>
              <a:rPr lang="en-US" sz="1200" b="0" i="0" spc="0" baseline="0" dirty="0">
                <a:solidFill>
                  <a:srgbClr val="FFFFFF"/>
                </a:solidFill>
                <a:latin typeface="Arial"/>
              </a:rPr>
              <a:t>Business analysis</a:t>
            </a:r>
          </a:p>
          <a:p>
            <a:pPr marL="0" rtl="0"/>
            <a:r>
              <a:rPr lang="en-US" sz="1200" dirty="0">
                <a:solidFill>
                  <a:srgbClr val="FFFFFF"/>
                </a:solidFill>
                <a:latin typeface="Arial"/>
              </a:rPr>
              <a:t>Research</a:t>
            </a:r>
          </a:p>
          <a:p>
            <a:pPr marL="0" rtl="0"/>
            <a:endParaRPr lang="en-US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Freeform 433">
            <a:extLst>
              <a:ext uri="{FF2B5EF4-FFF2-40B4-BE49-F238E27FC236}">
                <a16:creationId xmlns:a16="http://schemas.microsoft.com/office/drawing/2014/main" id="{8FE3BA2A-56C4-4045-2E47-1D377C192940}"/>
              </a:ext>
            </a:extLst>
          </p:cNvPr>
          <p:cNvSpPr/>
          <p:nvPr/>
        </p:nvSpPr>
        <p:spPr>
          <a:xfrm>
            <a:off x="6852122" y="6151973"/>
            <a:ext cx="148464" cy="57519"/>
          </a:xfrm>
          <a:custGeom>
            <a:avLst/>
            <a:gdLst/>
            <a:ahLst/>
            <a:cxnLst/>
            <a:rect l="0" t="0" r="0" b="0"/>
            <a:pathLst>
              <a:path w="148464" h="57519">
                <a:moveTo>
                  <a:pt x="148464" y="28753"/>
                </a:moveTo>
                <a:lnTo>
                  <a:pt x="141479" y="8992"/>
                </a:lnTo>
                <a:lnTo>
                  <a:pt x="120650" y="0"/>
                </a:lnTo>
                <a:lnTo>
                  <a:pt x="27686" y="0"/>
                </a:lnTo>
                <a:lnTo>
                  <a:pt x="6985" y="8992"/>
                </a:lnTo>
                <a:lnTo>
                  <a:pt x="0" y="28753"/>
                </a:lnTo>
                <a:lnTo>
                  <a:pt x="6985" y="48527"/>
                </a:lnTo>
                <a:lnTo>
                  <a:pt x="27686" y="57519"/>
                </a:lnTo>
                <a:lnTo>
                  <a:pt x="120650" y="57519"/>
                </a:lnTo>
                <a:lnTo>
                  <a:pt x="141479" y="48527"/>
                </a:lnTo>
                <a:lnTo>
                  <a:pt x="148464" y="28753"/>
                </a:lnTo>
                <a:close/>
                <a:moveTo>
                  <a:pt x="-5979007" y="89263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3" name="Freeform 433">
            <a:extLst>
              <a:ext uri="{FF2B5EF4-FFF2-40B4-BE49-F238E27FC236}">
                <a16:creationId xmlns:a16="http://schemas.microsoft.com/office/drawing/2014/main" id="{067A270A-78AC-3FA1-4FC0-6D9F2699948A}"/>
              </a:ext>
            </a:extLst>
          </p:cNvPr>
          <p:cNvSpPr/>
          <p:nvPr/>
        </p:nvSpPr>
        <p:spPr>
          <a:xfrm>
            <a:off x="5914135" y="4887672"/>
            <a:ext cx="148464" cy="57519"/>
          </a:xfrm>
          <a:custGeom>
            <a:avLst/>
            <a:gdLst/>
            <a:ahLst/>
            <a:cxnLst/>
            <a:rect l="0" t="0" r="0" b="0"/>
            <a:pathLst>
              <a:path w="148464" h="57519">
                <a:moveTo>
                  <a:pt x="148464" y="28753"/>
                </a:moveTo>
                <a:lnTo>
                  <a:pt x="141479" y="8992"/>
                </a:lnTo>
                <a:lnTo>
                  <a:pt x="120650" y="0"/>
                </a:lnTo>
                <a:lnTo>
                  <a:pt x="27686" y="0"/>
                </a:lnTo>
                <a:lnTo>
                  <a:pt x="6985" y="8992"/>
                </a:lnTo>
                <a:lnTo>
                  <a:pt x="0" y="28753"/>
                </a:lnTo>
                <a:lnTo>
                  <a:pt x="6985" y="48527"/>
                </a:lnTo>
                <a:lnTo>
                  <a:pt x="27686" y="57519"/>
                </a:lnTo>
                <a:lnTo>
                  <a:pt x="120650" y="57519"/>
                </a:lnTo>
                <a:lnTo>
                  <a:pt x="141479" y="48527"/>
                </a:lnTo>
                <a:lnTo>
                  <a:pt x="148464" y="28753"/>
                </a:lnTo>
                <a:close/>
                <a:moveTo>
                  <a:pt x="-5979007" y="89263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4" name="Rectangle 452">
            <a:extLst>
              <a:ext uri="{FF2B5EF4-FFF2-40B4-BE49-F238E27FC236}">
                <a16:creationId xmlns:a16="http://schemas.microsoft.com/office/drawing/2014/main" id="{289E8103-1E42-EB5C-0F79-E6FE1632ECAF}"/>
              </a:ext>
            </a:extLst>
          </p:cNvPr>
          <p:cNvSpPr/>
          <p:nvPr/>
        </p:nvSpPr>
        <p:spPr>
          <a:xfrm>
            <a:off x="6096000" y="4830998"/>
            <a:ext cx="5237018" cy="738664"/>
          </a:xfrm>
          <a:prstGeom prst="rect">
            <a:avLst/>
          </a:prstGeom>
        </p:spPr>
        <p:txBody>
          <a:bodyPr wrap="square" lIns="0" tIns="0" rIns="0" bIns="0" numCol="2">
            <a:spAutoFit/>
          </a:bodyPr>
          <a:lstStyle/>
          <a:p>
            <a:pPr rtl="0"/>
            <a:r>
              <a:rPr lang="en-US" sz="1200" b="0" i="0" spc="0" baseline="0" dirty="0">
                <a:solidFill>
                  <a:srgbClr val="FFFFFF"/>
                </a:solidFill>
                <a:latin typeface="Arial"/>
              </a:rPr>
              <a:t>Data analysis / modelling</a:t>
            </a:r>
          </a:p>
          <a:p>
            <a:pPr rtl="0"/>
            <a:r>
              <a:rPr lang="en-US" sz="1200" dirty="0">
                <a:solidFill>
                  <a:srgbClr val="FFFFFF"/>
                </a:solidFill>
                <a:latin typeface="Arial"/>
              </a:rPr>
              <a:t>Business analysis</a:t>
            </a:r>
          </a:p>
          <a:p>
            <a:pPr rtl="0"/>
            <a:endParaRPr lang="en-US" sz="1200" b="0" i="0" spc="0" baseline="0" dirty="0">
              <a:solidFill>
                <a:srgbClr val="FFFFFF"/>
              </a:solidFill>
              <a:latin typeface="Arial"/>
            </a:endParaRPr>
          </a:p>
          <a:p>
            <a:pPr rtl="0"/>
            <a:endParaRPr lang="en-US" sz="1200" dirty="0">
              <a:solidFill>
                <a:srgbClr val="FFFFFF"/>
              </a:solidFill>
              <a:latin typeface="Arial"/>
            </a:endParaRPr>
          </a:p>
          <a:p>
            <a:pPr rtl="0"/>
            <a:r>
              <a:rPr lang="en-US" sz="1200" b="0" i="0" spc="0" baseline="0" dirty="0">
                <a:solidFill>
                  <a:srgbClr val="FFFFFF"/>
                </a:solidFill>
                <a:latin typeface="Arial"/>
              </a:rPr>
              <a:t>Meeting management</a:t>
            </a:r>
          </a:p>
        </p:txBody>
      </p:sp>
      <p:sp>
        <p:nvSpPr>
          <p:cNvPr id="5" name="Freeform 433">
            <a:extLst>
              <a:ext uri="{FF2B5EF4-FFF2-40B4-BE49-F238E27FC236}">
                <a16:creationId xmlns:a16="http://schemas.microsoft.com/office/drawing/2014/main" id="{915B4DD0-5F8D-B9C1-B05F-50242D18E0C2}"/>
              </a:ext>
            </a:extLst>
          </p:cNvPr>
          <p:cNvSpPr/>
          <p:nvPr/>
        </p:nvSpPr>
        <p:spPr>
          <a:xfrm>
            <a:off x="5914135" y="5080553"/>
            <a:ext cx="148464" cy="57519"/>
          </a:xfrm>
          <a:custGeom>
            <a:avLst/>
            <a:gdLst/>
            <a:ahLst/>
            <a:cxnLst/>
            <a:rect l="0" t="0" r="0" b="0"/>
            <a:pathLst>
              <a:path w="148464" h="57519">
                <a:moveTo>
                  <a:pt x="148464" y="28753"/>
                </a:moveTo>
                <a:lnTo>
                  <a:pt x="141479" y="8992"/>
                </a:lnTo>
                <a:lnTo>
                  <a:pt x="120650" y="0"/>
                </a:lnTo>
                <a:lnTo>
                  <a:pt x="27686" y="0"/>
                </a:lnTo>
                <a:lnTo>
                  <a:pt x="6985" y="8992"/>
                </a:lnTo>
                <a:lnTo>
                  <a:pt x="0" y="28753"/>
                </a:lnTo>
                <a:lnTo>
                  <a:pt x="6985" y="48527"/>
                </a:lnTo>
                <a:lnTo>
                  <a:pt x="27686" y="57519"/>
                </a:lnTo>
                <a:lnTo>
                  <a:pt x="120650" y="57519"/>
                </a:lnTo>
                <a:lnTo>
                  <a:pt x="141479" y="48527"/>
                </a:lnTo>
                <a:lnTo>
                  <a:pt x="148464" y="28753"/>
                </a:lnTo>
                <a:close/>
                <a:moveTo>
                  <a:pt x="-5979007" y="89263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8" name="Freeform 433">
            <a:extLst>
              <a:ext uri="{FF2B5EF4-FFF2-40B4-BE49-F238E27FC236}">
                <a16:creationId xmlns:a16="http://schemas.microsoft.com/office/drawing/2014/main" id="{3F96764C-BAC5-D09A-67DA-290F7F3BAFF5}"/>
              </a:ext>
            </a:extLst>
          </p:cNvPr>
          <p:cNvSpPr/>
          <p:nvPr/>
        </p:nvSpPr>
        <p:spPr>
          <a:xfrm>
            <a:off x="5110572" y="3936326"/>
            <a:ext cx="148464" cy="57519"/>
          </a:xfrm>
          <a:custGeom>
            <a:avLst/>
            <a:gdLst/>
            <a:ahLst/>
            <a:cxnLst/>
            <a:rect l="0" t="0" r="0" b="0"/>
            <a:pathLst>
              <a:path w="148464" h="57519">
                <a:moveTo>
                  <a:pt x="148464" y="28753"/>
                </a:moveTo>
                <a:lnTo>
                  <a:pt x="141479" y="8992"/>
                </a:lnTo>
                <a:lnTo>
                  <a:pt x="120650" y="0"/>
                </a:lnTo>
                <a:lnTo>
                  <a:pt x="27686" y="0"/>
                </a:lnTo>
                <a:lnTo>
                  <a:pt x="6985" y="8992"/>
                </a:lnTo>
                <a:lnTo>
                  <a:pt x="0" y="28753"/>
                </a:lnTo>
                <a:lnTo>
                  <a:pt x="6985" y="48527"/>
                </a:lnTo>
                <a:lnTo>
                  <a:pt x="27686" y="57519"/>
                </a:lnTo>
                <a:lnTo>
                  <a:pt x="120650" y="57519"/>
                </a:lnTo>
                <a:lnTo>
                  <a:pt x="141479" y="48527"/>
                </a:lnTo>
                <a:lnTo>
                  <a:pt x="148464" y="28753"/>
                </a:lnTo>
                <a:close/>
                <a:moveTo>
                  <a:pt x="-5979007" y="89263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9" name="Rectangle 452">
            <a:extLst>
              <a:ext uri="{FF2B5EF4-FFF2-40B4-BE49-F238E27FC236}">
                <a16:creationId xmlns:a16="http://schemas.microsoft.com/office/drawing/2014/main" id="{725BB501-0A9F-A9B9-E7F3-100F9AA4636C}"/>
              </a:ext>
            </a:extLst>
          </p:cNvPr>
          <p:cNvSpPr/>
          <p:nvPr/>
        </p:nvSpPr>
        <p:spPr>
          <a:xfrm>
            <a:off x="5292437" y="3879652"/>
            <a:ext cx="143308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rtl="0"/>
            <a:r>
              <a:rPr lang="en-US" sz="1200" b="0" i="0" spc="0" baseline="0" dirty="0">
                <a:solidFill>
                  <a:srgbClr val="FFFFFF"/>
                </a:solidFill>
                <a:latin typeface="Arial"/>
              </a:rPr>
              <a:t>Stream Management</a:t>
            </a:r>
          </a:p>
        </p:txBody>
      </p:sp>
      <p:sp>
        <p:nvSpPr>
          <p:cNvPr id="10" name="Freeform 433">
            <a:extLst>
              <a:ext uri="{FF2B5EF4-FFF2-40B4-BE49-F238E27FC236}">
                <a16:creationId xmlns:a16="http://schemas.microsoft.com/office/drawing/2014/main" id="{89371149-C20A-D0E0-7A43-CAAAA33E8E57}"/>
              </a:ext>
            </a:extLst>
          </p:cNvPr>
          <p:cNvSpPr/>
          <p:nvPr/>
        </p:nvSpPr>
        <p:spPr>
          <a:xfrm>
            <a:off x="5110572" y="4129207"/>
            <a:ext cx="148464" cy="57519"/>
          </a:xfrm>
          <a:custGeom>
            <a:avLst/>
            <a:gdLst/>
            <a:ahLst/>
            <a:cxnLst/>
            <a:rect l="0" t="0" r="0" b="0"/>
            <a:pathLst>
              <a:path w="148464" h="57519">
                <a:moveTo>
                  <a:pt x="148464" y="28753"/>
                </a:moveTo>
                <a:lnTo>
                  <a:pt x="141479" y="8992"/>
                </a:lnTo>
                <a:lnTo>
                  <a:pt x="120650" y="0"/>
                </a:lnTo>
                <a:lnTo>
                  <a:pt x="27686" y="0"/>
                </a:lnTo>
                <a:lnTo>
                  <a:pt x="6985" y="8992"/>
                </a:lnTo>
                <a:lnTo>
                  <a:pt x="0" y="28753"/>
                </a:lnTo>
                <a:lnTo>
                  <a:pt x="6985" y="48527"/>
                </a:lnTo>
                <a:lnTo>
                  <a:pt x="27686" y="57519"/>
                </a:lnTo>
                <a:lnTo>
                  <a:pt x="120650" y="57519"/>
                </a:lnTo>
                <a:lnTo>
                  <a:pt x="141479" y="48527"/>
                </a:lnTo>
                <a:lnTo>
                  <a:pt x="148464" y="28753"/>
                </a:lnTo>
                <a:close/>
                <a:moveTo>
                  <a:pt x="-5979007" y="89263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11" name="Rectangle 452">
            <a:extLst>
              <a:ext uri="{FF2B5EF4-FFF2-40B4-BE49-F238E27FC236}">
                <a16:creationId xmlns:a16="http://schemas.microsoft.com/office/drawing/2014/main" id="{18A9C7D4-AFC3-61C5-BE05-57A0888A9D42}"/>
              </a:ext>
            </a:extLst>
          </p:cNvPr>
          <p:cNvSpPr/>
          <p:nvPr/>
        </p:nvSpPr>
        <p:spPr>
          <a:xfrm>
            <a:off x="5292437" y="4082852"/>
            <a:ext cx="1328890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rtl="0"/>
            <a:r>
              <a:rPr lang="en-US" sz="1200" dirty="0">
                <a:solidFill>
                  <a:srgbClr val="FFFFFF"/>
                </a:solidFill>
                <a:latin typeface="Arial"/>
              </a:rPr>
              <a:t>Client managemen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CF8A385-C858-3F1A-67A5-477F97788A18}"/>
              </a:ext>
            </a:extLst>
          </p:cNvPr>
          <p:cNvSpPr txBox="1"/>
          <p:nvPr/>
        </p:nvSpPr>
        <p:spPr>
          <a:xfrm>
            <a:off x="6964218" y="3828520"/>
            <a:ext cx="175490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Risk Identification</a:t>
            </a:r>
          </a:p>
        </p:txBody>
      </p:sp>
      <p:sp>
        <p:nvSpPr>
          <p:cNvPr id="18" name="Freeform 433">
            <a:extLst>
              <a:ext uri="{FF2B5EF4-FFF2-40B4-BE49-F238E27FC236}">
                <a16:creationId xmlns:a16="http://schemas.microsoft.com/office/drawing/2014/main" id="{B0BC013B-B1A0-FD2B-8E0E-0D0BCFF28819}"/>
              </a:ext>
            </a:extLst>
          </p:cNvPr>
          <p:cNvSpPr/>
          <p:nvPr/>
        </p:nvSpPr>
        <p:spPr>
          <a:xfrm>
            <a:off x="8537262" y="4895826"/>
            <a:ext cx="148464" cy="57519"/>
          </a:xfrm>
          <a:custGeom>
            <a:avLst/>
            <a:gdLst/>
            <a:ahLst/>
            <a:cxnLst/>
            <a:rect l="0" t="0" r="0" b="0"/>
            <a:pathLst>
              <a:path w="148464" h="57519">
                <a:moveTo>
                  <a:pt x="148464" y="28753"/>
                </a:moveTo>
                <a:lnTo>
                  <a:pt x="141479" y="8992"/>
                </a:lnTo>
                <a:lnTo>
                  <a:pt x="120650" y="0"/>
                </a:lnTo>
                <a:lnTo>
                  <a:pt x="27686" y="0"/>
                </a:lnTo>
                <a:lnTo>
                  <a:pt x="6985" y="8992"/>
                </a:lnTo>
                <a:lnTo>
                  <a:pt x="0" y="28753"/>
                </a:lnTo>
                <a:lnTo>
                  <a:pt x="6985" y="48527"/>
                </a:lnTo>
                <a:lnTo>
                  <a:pt x="27686" y="57519"/>
                </a:lnTo>
                <a:lnTo>
                  <a:pt x="120650" y="57519"/>
                </a:lnTo>
                <a:lnTo>
                  <a:pt x="141479" y="48527"/>
                </a:lnTo>
                <a:lnTo>
                  <a:pt x="148464" y="28753"/>
                </a:lnTo>
                <a:close/>
                <a:moveTo>
                  <a:pt x="-5979007" y="89263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21" name="Freeform 433">
            <a:extLst>
              <a:ext uri="{FF2B5EF4-FFF2-40B4-BE49-F238E27FC236}">
                <a16:creationId xmlns:a16="http://schemas.microsoft.com/office/drawing/2014/main" id="{8A6E41C3-D30C-127A-D3E5-60A2ABD0BFB1}"/>
              </a:ext>
            </a:extLst>
          </p:cNvPr>
          <p:cNvSpPr/>
          <p:nvPr/>
        </p:nvSpPr>
        <p:spPr>
          <a:xfrm>
            <a:off x="6856245" y="3936326"/>
            <a:ext cx="148464" cy="57519"/>
          </a:xfrm>
          <a:custGeom>
            <a:avLst/>
            <a:gdLst/>
            <a:ahLst/>
            <a:cxnLst/>
            <a:rect l="0" t="0" r="0" b="0"/>
            <a:pathLst>
              <a:path w="148464" h="57519">
                <a:moveTo>
                  <a:pt x="148464" y="28753"/>
                </a:moveTo>
                <a:lnTo>
                  <a:pt x="141479" y="8992"/>
                </a:lnTo>
                <a:lnTo>
                  <a:pt x="120650" y="0"/>
                </a:lnTo>
                <a:lnTo>
                  <a:pt x="27686" y="0"/>
                </a:lnTo>
                <a:lnTo>
                  <a:pt x="6985" y="8992"/>
                </a:lnTo>
                <a:lnTo>
                  <a:pt x="0" y="28753"/>
                </a:lnTo>
                <a:lnTo>
                  <a:pt x="6985" y="48527"/>
                </a:lnTo>
                <a:lnTo>
                  <a:pt x="27686" y="57519"/>
                </a:lnTo>
                <a:lnTo>
                  <a:pt x="120650" y="57519"/>
                </a:lnTo>
                <a:lnTo>
                  <a:pt x="141479" y="48527"/>
                </a:lnTo>
                <a:lnTo>
                  <a:pt x="148464" y="28753"/>
                </a:lnTo>
                <a:close/>
                <a:moveTo>
                  <a:pt x="-5979007" y="89263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22" name="Freeform 433">
            <a:extLst>
              <a:ext uri="{FF2B5EF4-FFF2-40B4-BE49-F238E27FC236}">
                <a16:creationId xmlns:a16="http://schemas.microsoft.com/office/drawing/2014/main" id="{1BD77E76-EDB5-DADA-37C0-2540860AF827}"/>
              </a:ext>
            </a:extLst>
          </p:cNvPr>
          <p:cNvSpPr/>
          <p:nvPr/>
        </p:nvSpPr>
        <p:spPr>
          <a:xfrm>
            <a:off x="4380900" y="2892617"/>
            <a:ext cx="148464" cy="57519"/>
          </a:xfrm>
          <a:custGeom>
            <a:avLst/>
            <a:gdLst/>
            <a:ahLst/>
            <a:cxnLst/>
            <a:rect l="0" t="0" r="0" b="0"/>
            <a:pathLst>
              <a:path w="148464" h="57519">
                <a:moveTo>
                  <a:pt x="148464" y="28753"/>
                </a:moveTo>
                <a:lnTo>
                  <a:pt x="141479" y="8992"/>
                </a:lnTo>
                <a:lnTo>
                  <a:pt x="120650" y="0"/>
                </a:lnTo>
                <a:lnTo>
                  <a:pt x="27686" y="0"/>
                </a:lnTo>
                <a:lnTo>
                  <a:pt x="6985" y="8992"/>
                </a:lnTo>
                <a:lnTo>
                  <a:pt x="0" y="28753"/>
                </a:lnTo>
                <a:lnTo>
                  <a:pt x="6985" y="48527"/>
                </a:lnTo>
                <a:lnTo>
                  <a:pt x="27686" y="57519"/>
                </a:lnTo>
                <a:lnTo>
                  <a:pt x="120650" y="57519"/>
                </a:lnTo>
                <a:lnTo>
                  <a:pt x="141479" y="48527"/>
                </a:lnTo>
                <a:lnTo>
                  <a:pt x="148464" y="28753"/>
                </a:lnTo>
                <a:close/>
                <a:moveTo>
                  <a:pt x="-5979007" y="89263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23" name="Rectangle 452">
            <a:extLst>
              <a:ext uri="{FF2B5EF4-FFF2-40B4-BE49-F238E27FC236}">
                <a16:creationId xmlns:a16="http://schemas.microsoft.com/office/drawing/2014/main" id="{4D95CB47-A9C3-4EB2-6E6A-08207493C047}"/>
              </a:ext>
            </a:extLst>
          </p:cNvPr>
          <p:cNvSpPr/>
          <p:nvPr/>
        </p:nvSpPr>
        <p:spPr>
          <a:xfrm>
            <a:off x="4562765" y="2835943"/>
            <a:ext cx="184986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rtl="0"/>
            <a:r>
              <a:rPr lang="en-US" sz="1200" b="0" i="0" spc="0" baseline="0" dirty="0">
                <a:solidFill>
                  <a:srgbClr val="FFFFFF"/>
                </a:solidFill>
                <a:latin typeface="Arial"/>
              </a:rPr>
              <a:t>Engagement  Management</a:t>
            </a:r>
          </a:p>
        </p:txBody>
      </p:sp>
      <p:sp>
        <p:nvSpPr>
          <p:cNvPr id="24" name="Freeform 433">
            <a:extLst>
              <a:ext uri="{FF2B5EF4-FFF2-40B4-BE49-F238E27FC236}">
                <a16:creationId xmlns:a16="http://schemas.microsoft.com/office/drawing/2014/main" id="{E49417BB-37BA-5F44-67F0-CAD42D27D369}"/>
              </a:ext>
            </a:extLst>
          </p:cNvPr>
          <p:cNvSpPr/>
          <p:nvPr/>
        </p:nvSpPr>
        <p:spPr>
          <a:xfrm>
            <a:off x="4380900" y="3085498"/>
            <a:ext cx="148464" cy="57519"/>
          </a:xfrm>
          <a:custGeom>
            <a:avLst/>
            <a:gdLst/>
            <a:ahLst/>
            <a:cxnLst/>
            <a:rect l="0" t="0" r="0" b="0"/>
            <a:pathLst>
              <a:path w="148464" h="57519">
                <a:moveTo>
                  <a:pt x="148464" y="28753"/>
                </a:moveTo>
                <a:lnTo>
                  <a:pt x="141479" y="8992"/>
                </a:lnTo>
                <a:lnTo>
                  <a:pt x="120650" y="0"/>
                </a:lnTo>
                <a:lnTo>
                  <a:pt x="27686" y="0"/>
                </a:lnTo>
                <a:lnTo>
                  <a:pt x="6985" y="8992"/>
                </a:lnTo>
                <a:lnTo>
                  <a:pt x="0" y="28753"/>
                </a:lnTo>
                <a:lnTo>
                  <a:pt x="6985" y="48527"/>
                </a:lnTo>
                <a:lnTo>
                  <a:pt x="27686" y="57519"/>
                </a:lnTo>
                <a:lnTo>
                  <a:pt x="120650" y="57519"/>
                </a:lnTo>
                <a:lnTo>
                  <a:pt x="141479" y="48527"/>
                </a:lnTo>
                <a:lnTo>
                  <a:pt x="148464" y="28753"/>
                </a:lnTo>
                <a:close/>
                <a:moveTo>
                  <a:pt x="-5979007" y="89263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25" name="Rectangle 452">
            <a:extLst>
              <a:ext uri="{FF2B5EF4-FFF2-40B4-BE49-F238E27FC236}">
                <a16:creationId xmlns:a16="http://schemas.microsoft.com/office/drawing/2014/main" id="{5050CD87-6926-A202-52A6-6CCA824632DA}"/>
              </a:ext>
            </a:extLst>
          </p:cNvPr>
          <p:cNvSpPr/>
          <p:nvPr/>
        </p:nvSpPr>
        <p:spPr>
          <a:xfrm>
            <a:off x="4562765" y="3039143"/>
            <a:ext cx="1328890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rtl="0"/>
            <a:r>
              <a:rPr lang="en-US" sz="1200" dirty="0">
                <a:solidFill>
                  <a:srgbClr val="FFFFFF"/>
                </a:solidFill>
                <a:latin typeface="Arial"/>
              </a:rPr>
              <a:t>Client managemen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918D50D-778B-049C-8429-2CBC2D9C1175}"/>
              </a:ext>
            </a:extLst>
          </p:cNvPr>
          <p:cNvSpPr txBox="1"/>
          <p:nvPr/>
        </p:nvSpPr>
        <p:spPr>
          <a:xfrm>
            <a:off x="7019637" y="2784810"/>
            <a:ext cx="188421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Risk Management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FFFFFF"/>
                </a:solidFill>
                <a:latin typeface="Arial"/>
              </a:rPr>
              <a:t>Expertis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7" name="Freeform 433">
            <a:extLst>
              <a:ext uri="{FF2B5EF4-FFF2-40B4-BE49-F238E27FC236}">
                <a16:creationId xmlns:a16="http://schemas.microsoft.com/office/drawing/2014/main" id="{24263FF9-CFE8-CF06-9AC8-079F6EECF91C}"/>
              </a:ext>
            </a:extLst>
          </p:cNvPr>
          <p:cNvSpPr/>
          <p:nvPr/>
        </p:nvSpPr>
        <p:spPr>
          <a:xfrm>
            <a:off x="6911664" y="2892617"/>
            <a:ext cx="148464" cy="57519"/>
          </a:xfrm>
          <a:custGeom>
            <a:avLst/>
            <a:gdLst/>
            <a:ahLst/>
            <a:cxnLst/>
            <a:rect l="0" t="0" r="0" b="0"/>
            <a:pathLst>
              <a:path w="148464" h="57519">
                <a:moveTo>
                  <a:pt x="148464" y="28753"/>
                </a:moveTo>
                <a:lnTo>
                  <a:pt x="141479" y="8992"/>
                </a:lnTo>
                <a:lnTo>
                  <a:pt x="120650" y="0"/>
                </a:lnTo>
                <a:lnTo>
                  <a:pt x="27686" y="0"/>
                </a:lnTo>
                <a:lnTo>
                  <a:pt x="6985" y="8992"/>
                </a:lnTo>
                <a:lnTo>
                  <a:pt x="0" y="28753"/>
                </a:lnTo>
                <a:lnTo>
                  <a:pt x="6985" y="48527"/>
                </a:lnTo>
                <a:lnTo>
                  <a:pt x="27686" y="57519"/>
                </a:lnTo>
                <a:lnTo>
                  <a:pt x="120650" y="57519"/>
                </a:lnTo>
                <a:lnTo>
                  <a:pt x="141479" y="48527"/>
                </a:lnTo>
                <a:lnTo>
                  <a:pt x="148464" y="28753"/>
                </a:lnTo>
                <a:close/>
                <a:moveTo>
                  <a:pt x="-5979007" y="89263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29" name="Freeform 433">
            <a:extLst>
              <a:ext uri="{FF2B5EF4-FFF2-40B4-BE49-F238E27FC236}">
                <a16:creationId xmlns:a16="http://schemas.microsoft.com/office/drawing/2014/main" id="{9A160A60-25EB-0743-E422-82C1BE9233EF}"/>
              </a:ext>
            </a:extLst>
          </p:cNvPr>
          <p:cNvSpPr/>
          <p:nvPr/>
        </p:nvSpPr>
        <p:spPr>
          <a:xfrm>
            <a:off x="6911664" y="3086581"/>
            <a:ext cx="148464" cy="57519"/>
          </a:xfrm>
          <a:custGeom>
            <a:avLst/>
            <a:gdLst/>
            <a:ahLst/>
            <a:cxnLst/>
            <a:rect l="0" t="0" r="0" b="0"/>
            <a:pathLst>
              <a:path w="148464" h="57519">
                <a:moveTo>
                  <a:pt x="148464" y="28753"/>
                </a:moveTo>
                <a:lnTo>
                  <a:pt x="141479" y="8992"/>
                </a:lnTo>
                <a:lnTo>
                  <a:pt x="120650" y="0"/>
                </a:lnTo>
                <a:lnTo>
                  <a:pt x="27686" y="0"/>
                </a:lnTo>
                <a:lnTo>
                  <a:pt x="6985" y="8992"/>
                </a:lnTo>
                <a:lnTo>
                  <a:pt x="0" y="28753"/>
                </a:lnTo>
                <a:lnTo>
                  <a:pt x="6985" y="48527"/>
                </a:lnTo>
                <a:lnTo>
                  <a:pt x="27686" y="57519"/>
                </a:lnTo>
                <a:lnTo>
                  <a:pt x="120650" y="57519"/>
                </a:lnTo>
                <a:lnTo>
                  <a:pt x="141479" y="48527"/>
                </a:lnTo>
                <a:lnTo>
                  <a:pt x="148464" y="28753"/>
                </a:lnTo>
                <a:close/>
                <a:moveTo>
                  <a:pt x="-5979007" y="89263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30" name="Freeform 433">
            <a:extLst>
              <a:ext uri="{FF2B5EF4-FFF2-40B4-BE49-F238E27FC236}">
                <a16:creationId xmlns:a16="http://schemas.microsoft.com/office/drawing/2014/main" id="{59C087FD-E708-965B-1F6F-5EE30EC8F36E}"/>
              </a:ext>
            </a:extLst>
          </p:cNvPr>
          <p:cNvSpPr/>
          <p:nvPr/>
        </p:nvSpPr>
        <p:spPr>
          <a:xfrm>
            <a:off x="3697409" y="1987453"/>
            <a:ext cx="148464" cy="57519"/>
          </a:xfrm>
          <a:custGeom>
            <a:avLst/>
            <a:gdLst/>
            <a:ahLst/>
            <a:cxnLst/>
            <a:rect l="0" t="0" r="0" b="0"/>
            <a:pathLst>
              <a:path w="148464" h="57519">
                <a:moveTo>
                  <a:pt x="148464" y="28753"/>
                </a:moveTo>
                <a:lnTo>
                  <a:pt x="141479" y="8992"/>
                </a:lnTo>
                <a:lnTo>
                  <a:pt x="120650" y="0"/>
                </a:lnTo>
                <a:lnTo>
                  <a:pt x="27686" y="0"/>
                </a:lnTo>
                <a:lnTo>
                  <a:pt x="6985" y="8992"/>
                </a:lnTo>
                <a:lnTo>
                  <a:pt x="0" y="28753"/>
                </a:lnTo>
                <a:lnTo>
                  <a:pt x="6985" y="48527"/>
                </a:lnTo>
                <a:lnTo>
                  <a:pt x="27686" y="57519"/>
                </a:lnTo>
                <a:lnTo>
                  <a:pt x="120650" y="57519"/>
                </a:lnTo>
                <a:lnTo>
                  <a:pt x="141479" y="48527"/>
                </a:lnTo>
                <a:lnTo>
                  <a:pt x="148464" y="28753"/>
                </a:lnTo>
                <a:close/>
                <a:moveTo>
                  <a:pt x="-5979007" y="89263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31" name="Rectangle 452">
            <a:extLst>
              <a:ext uri="{FF2B5EF4-FFF2-40B4-BE49-F238E27FC236}">
                <a16:creationId xmlns:a16="http://schemas.microsoft.com/office/drawing/2014/main" id="{8F155C4B-05CF-3058-F3B9-6494CFA8B540}"/>
              </a:ext>
            </a:extLst>
          </p:cNvPr>
          <p:cNvSpPr/>
          <p:nvPr/>
        </p:nvSpPr>
        <p:spPr>
          <a:xfrm>
            <a:off x="3879274" y="2106270"/>
            <a:ext cx="1788951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rtl="0"/>
            <a:r>
              <a:rPr lang="en-US" sz="1200" b="0" i="0" spc="0" baseline="0" dirty="0">
                <a:solidFill>
                  <a:srgbClr val="FFFFFF"/>
                </a:solidFill>
                <a:latin typeface="Arial"/>
              </a:rPr>
              <a:t>Sponsorship Management</a:t>
            </a:r>
          </a:p>
        </p:txBody>
      </p:sp>
      <p:sp>
        <p:nvSpPr>
          <p:cNvPr id="454" name="Freeform 433">
            <a:extLst>
              <a:ext uri="{FF2B5EF4-FFF2-40B4-BE49-F238E27FC236}">
                <a16:creationId xmlns:a16="http://schemas.microsoft.com/office/drawing/2014/main" id="{324AC207-1FBF-1F72-EDC2-0B04074DB3FE}"/>
              </a:ext>
            </a:extLst>
          </p:cNvPr>
          <p:cNvSpPr/>
          <p:nvPr/>
        </p:nvSpPr>
        <p:spPr>
          <a:xfrm>
            <a:off x="3697409" y="2180334"/>
            <a:ext cx="148464" cy="57519"/>
          </a:xfrm>
          <a:custGeom>
            <a:avLst/>
            <a:gdLst/>
            <a:ahLst/>
            <a:cxnLst/>
            <a:rect l="0" t="0" r="0" b="0"/>
            <a:pathLst>
              <a:path w="148464" h="57519">
                <a:moveTo>
                  <a:pt x="148464" y="28753"/>
                </a:moveTo>
                <a:lnTo>
                  <a:pt x="141479" y="8992"/>
                </a:lnTo>
                <a:lnTo>
                  <a:pt x="120650" y="0"/>
                </a:lnTo>
                <a:lnTo>
                  <a:pt x="27686" y="0"/>
                </a:lnTo>
                <a:lnTo>
                  <a:pt x="6985" y="8992"/>
                </a:lnTo>
                <a:lnTo>
                  <a:pt x="0" y="28753"/>
                </a:lnTo>
                <a:lnTo>
                  <a:pt x="6985" y="48527"/>
                </a:lnTo>
                <a:lnTo>
                  <a:pt x="27686" y="57519"/>
                </a:lnTo>
                <a:lnTo>
                  <a:pt x="120650" y="57519"/>
                </a:lnTo>
                <a:lnTo>
                  <a:pt x="141479" y="48527"/>
                </a:lnTo>
                <a:lnTo>
                  <a:pt x="148464" y="28753"/>
                </a:lnTo>
                <a:close/>
                <a:moveTo>
                  <a:pt x="-5979007" y="89263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456" name="TextBox 455">
            <a:extLst>
              <a:ext uri="{FF2B5EF4-FFF2-40B4-BE49-F238E27FC236}">
                <a16:creationId xmlns:a16="http://schemas.microsoft.com/office/drawing/2014/main" id="{FF70EA5E-984D-CB41-7626-5F27DA475941}"/>
              </a:ext>
            </a:extLst>
          </p:cNvPr>
          <p:cNvSpPr txBox="1"/>
          <p:nvPr/>
        </p:nvSpPr>
        <p:spPr>
          <a:xfrm>
            <a:off x="6539346" y="1879646"/>
            <a:ext cx="188421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Risk Management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FFFFFF"/>
                </a:solidFill>
                <a:latin typeface="Arial"/>
              </a:rPr>
              <a:t>Offer / Expertise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57" name="Freeform 433">
            <a:extLst>
              <a:ext uri="{FF2B5EF4-FFF2-40B4-BE49-F238E27FC236}">
                <a16:creationId xmlns:a16="http://schemas.microsoft.com/office/drawing/2014/main" id="{6CCF9439-89EE-8FB1-5F1B-2E101D25241F}"/>
              </a:ext>
            </a:extLst>
          </p:cNvPr>
          <p:cNvSpPr/>
          <p:nvPr/>
        </p:nvSpPr>
        <p:spPr>
          <a:xfrm>
            <a:off x="6431373" y="1987453"/>
            <a:ext cx="148464" cy="57519"/>
          </a:xfrm>
          <a:custGeom>
            <a:avLst/>
            <a:gdLst/>
            <a:ahLst/>
            <a:cxnLst/>
            <a:rect l="0" t="0" r="0" b="0"/>
            <a:pathLst>
              <a:path w="148464" h="57519">
                <a:moveTo>
                  <a:pt x="148464" y="28753"/>
                </a:moveTo>
                <a:lnTo>
                  <a:pt x="141479" y="8992"/>
                </a:lnTo>
                <a:lnTo>
                  <a:pt x="120650" y="0"/>
                </a:lnTo>
                <a:lnTo>
                  <a:pt x="27686" y="0"/>
                </a:lnTo>
                <a:lnTo>
                  <a:pt x="6985" y="8992"/>
                </a:lnTo>
                <a:lnTo>
                  <a:pt x="0" y="28753"/>
                </a:lnTo>
                <a:lnTo>
                  <a:pt x="6985" y="48527"/>
                </a:lnTo>
                <a:lnTo>
                  <a:pt x="27686" y="57519"/>
                </a:lnTo>
                <a:lnTo>
                  <a:pt x="120650" y="57519"/>
                </a:lnTo>
                <a:lnTo>
                  <a:pt x="141479" y="48527"/>
                </a:lnTo>
                <a:lnTo>
                  <a:pt x="148464" y="28753"/>
                </a:lnTo>
                <a:close/>
                <a:moveTo>
                  <a:pt x="-5979007" y="89263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458" name="Freeform 433">
            <a:extLst>
              <a:ext uri="{FF2B5EF4-FFF2-40B4-BE49-F238E27FC236}">
                <a16:creationId xmlns:a16="http://schemas.microsoft.com/office/drawing/2014/main" id="{2604850B-9196-4528-9815-C3C7402DDE27}"/>
              </a:ext>
            </a:extLst>
          </p:cNvPr>
          <p:cNvSpPr/>
          <p:nvPr/>
        </p:nvSpPr>
        <p:spPr>
          <a:xfrm>
            <a:off x="6431373" y="2181417"/>
            <a:ext cx="148464" cy="57519"/>
          </a:xfrm>
          <a:custGeom>
            <a:avLst/>
            <a:gdLst/>
            <a:ahLst/>
            <a:cxnLst/>
            <a:rect l="0" t="0" r="0" b="0"/>
            <a:pathLst>
              <a:path w="148464" h="57519">
                <a:moveTo>
                  <a:pt x="148464" y="28753"/>
                </a:moveTo>
                <a:lnTo>
                  <a:pt x="141479" y="8992"/>
                </a:lnTo>
                <a:lnTo>
                  <a:pt x="120650" y="0"/>
                </a:lnTo>
                <a:lnTo>
                  <a:pt x="27686" y="0"/>
                </a:lnTo>
                <a:lnTo>
                  <a:pt x="6985" y="8992"/>
                </a:lnTo>
                <a:lnTo>
                  <a:pt x="0" y="28753"/>
                </a:lnTo>
                <a:lnTo>
                  <a:pt x="6985" y="48527"/>
                </a:lnTo>
                <a:lnTo>
                  <a:pt x="27686" y="57519"/>
                </a:lnTo>
                <a:lnTo>
                  <a:pt x="120650" y="57519"/>
                </a:lnTo>
                <a:lnTo>
                  <a:pt x="141479" y="48527"/>
                </a:lnTo>
                <a:lnTo>
                  <a:pt x="148464" y="28753"/>
                </a:lnTo>
                <a:close/>
                <a:moveTo>
                  <a:pt x="-5979007" y="892632"/>
                </a:moveTo>
              </a:path>
            </a:pathLst>
          </a:custGeom>
          <a:solidFill>
            <a:srgbClr val="EBBE20">
              <a:alpha val="100000"/>
            </a:srgbClr>
          </a:solidFill>
          <a:ln w="10666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rtl="0"/>
            <a:endParaRPr lang="en-US" dirty="0"/>
          </a:p>
        </p:txBody>
      </p:sp>
      <p:sp>
        <p:nvSpPr>
          <p:cNvPr id="460" name="Isosceles Triangle 459">
            <a:extLst>
              <a:ext uri="{FF2B5EF4-FFF2-40B4-BE49-F238E27FC236}">
                <a16:creationId xmlns:a16="http://schemas.microsoft.com/office/drawing/2014/main" id="{6322BD25-03FC-BD9A-1060-B7B6343D430D}"/>
              </a:ext>
            </a:extLst>
          </p:cNvPr>
          <p:cNvSpPr/>
          <p:nvPr/>
        </p:nvSpPr>
        <p:spPr>
          <a:xfrm rot="10800000">
            <a:off x="10695709" y="1736436"/>
            <a:ext cx="609600" cy="4701309"/>
          </a:xfrm>
          <a:prstGeom prst="triangle">
            <a:avLst>
              <a:gd name="adj" fmla="val 100000"/>
            </a:avLst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/>
          </a:p>
        </p:txBody>
      </p:sp>
      <p:sp>
        <p:nvSpPr>
          <p:cNvPr id="461" name="Rectangle 441">
            <a:extLst>
              <a:ext uri="{FF2B5EF4-FFF2-40B4-BE49-F238E27FC236}">
                <a16:creationId xmlns:a16="http://schemas.microsoft.com/office/drawing/2014/main" id="{7A01A472-0742-64D0-DF17-AA403004F757}"/>
              </a:ext>
            </a:extLst>
          </p:cNvPr>
          <p:cNvSpPr/>
          <p:nvPr/>
        </p:nvSpPr>
        <p:spPr>
          <a:xfrm>
            <a:off x="10324138" y="6422787"/>
            <a:ext cx="1581535" cy="1849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algn="ctr" rtl="0"/>
            <a:r>
              <a:rPr lang="en-US" sz="1202" b="1" i="0" spc="0" baseline="0" dirty="0">
                <a:solidFill>
                  <a:srgbClr val="FFFFFF"/>
                </a:solidFill>
                <a:latin typeface="Arial"/>
              </a:rPr>
              <a:t>Engagement delivery</a:t>
            </a:r>
          </a:p>
        </p:txBody>
      </p:sp>
      <p:pic>
        <p:nvPicPr>
          <p:cNvPr id="463" name="Picture 462">
            <a:extLst>
              <a:ext uri="{FF2B5EF4-FFF2-40B4-BE49-F238E27FC236}">
                <a16:creationId xmlns:a16="http://schemas.microsoft.com/office/drawing/2014/main" id="{477B53EF-3717-7F43-D5F7-0C89F19BDD9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1111" r="2157"/>
          <a:stretch/>
        </p:blipFill>
        <p:spPr>
          <a:xfrm>
            <a:off x="10779818" y="1736436"/>
            <a:ext cx="793346" cy="4621946"/>
          </a:xfrm>
          <a:prstGeom prst="rect">
            <a:avLst/>
          </a:prstGeom>
        </p:spPr>
      </p:pic>
      <p:sp>
        <p:nvSpPr>
          <p:cNvPr id="464" name="Rectangle 441">
            <a:extLst>
              <a:ext uri="{FF2B5EF4-FFF2-40B4-BE49-F238E27FC236}">
                <a16:creationId xmlns:a16="http://schemas.microsoft.com/office/drawing/2014/main" id="{72D7E34D-2187-5D93-940F-FA66D44AF77C}"/>
              </a:ext>
            </a:extLst>
          </p:cNvPr>
          <p:cNvSpPr/>
          <p:nvPr/>
        </p:nvSpPr>
        <p:spPr>
          <a:xfrm>
            <a:off x="10243129" y="1490569"/>
            <a:ext cx="1741622" cy="1849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algn="ctr" rtl="0"/>
            <a:r>
              <a:rPr lang="en-US" sz="1202" b="1" i="0" spc="0" baseline="0" dirty="0">
                <a:solidFill>
                  <a:srgbClr val="FFFFFF"/>
                </a:solidFill>
                <a:latin typeface="Arial"/>
              </a:rPr>
              <a:t>Business Development</a:t>
            </a:r>
          </a:p>
        </p:txBody>
      </p:sp>
      <p:sp>
        <p:nvSpPr>
          <p:cNvPr id="465" name="Rectangle 452">
            <a:extLst>
              <a:ext uri="{FF2B5EF4-FFF2-40B4-BE49-F238E27FC236}">
                <a16:creationId xmlns:a16="http://schemas.microsoft.com/office/drawing/2014/main" id="{74E359AD-02AF-4AD2-AE7B-E507E0FE3A25}"/>
              </a:ext>
            </a:extLst>
          </p:cNvPr>
          <p:cNvSpPr/>
          <p:nvPr/>
        </p:nvSpPr>
        <p:spPr>
          <a:xfrm>
            <a:off x="3879274" y="1903070"/>
            <a:ext cx="2232984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rtl="0"/>
            <a:r>
              <a:rPr lang="en-US" sz="1200" b="0" i="0" spc="0" baseline="0" dirty="0">
                <a:solidFill>
                  <a:srgbClr val="FFFFFF"/>
                </a:solidFill>
                <a:latin typeface="Arial"/>
              </a:rPr>
              <a:t>Ultimate responsibility of delivery</a:t>
            </a:r>
          </a:p>
        </p:txBody>
      </p:sp>
    </p:spTree>
    <p:extLst>
      <p:ext uri="{BB962C8B-B14F-4D97-AF65-F5344CB8AC3E}">
        <p14:creationId xmlns:p14="http://schemas.microsoft.com/office/powerpoint/2010/main" val="8362611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Freeform 300"/>
          <p:cNvSpPr/>
          <p:nvPr/>
        </p:nvSpPr>
        <p:spPr>
          <a:xfrm>
            <a:off x="666750" y="1143030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01" name="Freeform 301"/>
          <p:cNvSpPr/>
          <p:nvPr/>
        </p:nvSpPr>
        <p:spPr>
          <a:xfrm>
            <a:off x="671512" y="1147729"/>
            <a:ext cx="1295400" cy="66392"/>
          </a:xfrm>
          <a:custGeom>
            <a:avLst/>
            <a:gdLst/>
            <a:ahLst/>
            <a:cxnLst/>
            <a:rect l="0" t="0" r="0" b="0"/>
            <a:pathLst>
              <a:path w="1295400" h="66392">
                <a:moveTo>
                  <a:pt x="0" y="66392"/>
                </a:moveTo>
                <a:lnTo>
                  <a:pt x="1295400" y="66392"/>
                </a:lnTo>
                <a:lnTo>
                  <a:pt x="1295400" y="0"/>
                </a:lnTo>
                <a:lnTo>
                  <a:pt x="0" y="0"/>
                </a:lnTo>
                <a:lnTo>
                  <a:pt x="0" y="66392"/>
                </a:lnTo>
                <a:close/>
              </a:path>
            </a:pathLst>
          </a:custGeom>
          <a:noFill/>
          <a:ln w="10666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19" name="Rectangle 319"/>
          <p:cNvSpPr/>
          <p:nvPr/>
        </p:nvSpPr>
        <p:spPr>
          <a:xfrm>
            <a:off x="11489055" y="6397333"/>
            <a:ext cx="68846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6</a:t>
            </a:r>
          </a:p>
        </p:txBody>
      </p:sp>
      <p:sp>
        <p:nvSpPr>
          <p:cNvPr id="320" name="Rectangle 320"/>
          <p:cNvSpPr/>
          <p:nvPr/>
        </p:nvSpPr>
        <p:spPr>
          <a:xfrm>
            <a:off x="630555" y="488768"/>
            <a:ext cx="8813310" cy="55463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 err="1">
                <a:solidFill>
                  <a:srgbClr val="466CAD"/>
                </a:solidFill>
                <a:latin typeface="Arial"/>
              </a:rPr>
              <a:t>A</a:t>
            </a:r>
            <a:r>
              <a:rPr lang="fr-FR" sz="3604" b="1" i="0" spc="949" baseline="0" dirty="0" err="1">
                <a:solidFill>
                  <a:srgbClr val="466CAD"/>
                </a:solidFill>
                <a:latin typeface="Arial"/>
              </a:rPr>
              <a:t>n</a:t>
            </a:r>
            <a:r>
              <a:rPr lang="fr-FR" sz="3604" b="1" i="0" spc="0" baseline="0" dirty="0" err="1">
                <a:solidFill>
                  <a:srgbClr val="466CAD"/>
                </a:solidFill>
                <a:latin typeface="Arial"/>
              </a:rPr>
              <a:t>arm</a:t>
            </a:r>
            <a:r>
              <a:rPr lang="fr-FR" sz="3604" b="1" i="0" spc="960" baseline="0" dirty="0" err="1">
                <a:solidFill>
                  <a:srgbClr val="466CAD"/>
                </a:solidFill>
                <a:latin typeface="Arial"/>
              </a:rPr>
              <a:t>y</a:t>
            </a:r>
            <a:r>
              <a:rPr lang="fr-FR" sz="3604" b="1" i="0" spc="0" baseline="0" dirty="0" err="1">
                <a:solidFill>
                  <a:srgbClr val="466CAD"/>
                </a:solidFill>
                <a:latin typeface="Arial"/>
              </a:rPr>
              <a:t>o</a:t>
            </a:r>
            <a:r>
              <a:rPr lang="fr-FR" sz="3604" b="1" i="0" spc="1016" baseline="0" dirty="0" err="1">
                <a:solidFill>
                  <a:srgbClr val="466CAD"/>
                </a:solidFill>
                <a:latin typeface="Arial"/>
              </a:rPr>
              <a:t>f</a:t>
            </a:r>
            <a:r>
              <a:rPr lang="fr-FR" sz="3604" b="1" i="0" spc="0" baseline="0" dirty="0" err="1">
                <a:solidFill>
                  <a:srgbClr val="466CAD"/>
                </a:solidFill>
                <a:latin typeface="Arial"/>
              </a:rPr>
              <a:t>players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, </a:t>
            </a:r>
            <a:r>
              <a:rPr lang="fr-FR" sz="3604" b="1" i="0" spc="0" baseline="0" dirty="0" err="1">
                <a:solidFill>
                  <a:srgbClr val="466CAD"/>
                </a:solidFill>
                <a:latin typeface="Arial"/>
              </a:rPr>
              <a:t>under</a:t>
            </a:r>
            <a:r>
              <a:rPr lang="fr-FR" sz="3604" b="1" i="0" spc="0" baseline="0" dirty="0">
                <a:solidFill>
                  <a:srgbClr val="466CAD"/>
                </a:solidFill>
                <a:latin typeface="Arial"/>
              </a:rPr>
              <a:t> consolidation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62AA9451-533F-C756-5F5E-E028EAAE4B7E}"/>
              </a:ext>
            </a:extLst>
          </p:cNvPr>
          <p:cNvGrpSpPr/>
          <p:nvPr/>
        </p:nvGrpSpPr>
        <p:grpSpPr>
          <a:xfrm>
            <a:off x="1679575" y="1898798"/>
            <a:ext cx="2835275" cy="1327002"/>
            <a:chOff x="986848" y="1898798"/>
            <a:chExt cx="2835275" cy="1327002"/>
          </a:xfrm>
        </p:grpSpPr>
        <p:sp>
          <p:nvSpPr>
            <p:cNvPr id="3" name="Rectangle 322">
              <a:extLst>
                <a:ext uri="{FF2B5EF4-FFF2-40B4-BE49-F238E27FC236}">
                  <a16:creationId xmlns:a16="http://schemas.microsoft.com/office/drawing/2014/main" id="{0DFE5A5B-6304-7401-2EF9-92709FC95207}"/>
                </a:ext>
              </a:extLst>
            </p:cNvPr>
            <p:cNvSpPr/>
            <p:nvPr/>
          </p:nvSpPr>
          <p:spPr>
            <a:xfrm>
              <a:off x="1467807" y="1898798"/>
              <a:ext cx="2135200" cy="311945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>
                <a:tabLst>
                  <a:tab pos="4543044" algn="l"/>
                </a:tabLst>
              </a:pPr>
              <a:r>
                <a:rPr lang="fr-FR" sz="2027" b="1" i="0" spc="0" baseline="0" dirty="0">
                  <a:solidFill>
                    <a:srgbClr val="4B71B1"/>
                  </a:solidFill>
                  <a:latin typeface="Arial"/>
                </a:rPr>
                <a:t>MBB, or « Big 3 »</a:t>
              </a:r>
            </a:p>
          </p:txBody>
        </p:sp>
        <p:pic>
          <p:nvPicPr>
            <p:cNvPr id="9" name="Picture 302">
              <a:extLst>
                <a:ext uri="{FF2B5EF4-FFF2-40B4-BE49-F238E27FC236}">
                  <a16:creationId xmlns:a16="http://schemas.microsoft.com/office/drawing/2014/main" id="{D2C4E25F-64AF-857C-1752-9793D763DE49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1605973" y="3063875"/>
              <a:ext cx="1419225" cy="161925"/>
            </a:xfrm>
            <a:prstGeom prst="rect">
              <a:avLst/>
            </a:prstGeom>
            <a:noFill/>
          </p:spPr>
        </p:pic>
        <p:pic>
          <p:nvPicPr>
            <p:cNvPr id="10" name="Picture 315">
              <a:extLst>
                <a:ext uri="{FF2B5EF4-FFF2-40B4-BE49-F238E27FC236}">
                  <a16:creationId xmlns:a16="http://schemas.microsoft.com/office/drawing/2014/main" id="{AD61DE6C-46C7-CA9A-B28C-11349CF2116C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986848" y="2594841"/>
              <a:ext cx="1409700" cy="161925"/>
            </a:xfrm>
            <a:prstGeom prst="rect">
              <a:avLst/>
            </a:prstGeom>
            <a:noFill/>
          </p:spPr>
        </p:pic>
        <p:pic>
          <p:nvPicPr>
            <p:cNvPr id="11" name="Picture 316">
              <a:extLst>
                <a:ext uri="{FF2B5EF4-FFF2-40B4-BE49-F238E27FC236}">
                  <a16:creationId xmlns:a16="http://schemas.microsoft.com/office/drawing/2014/main" id="{25CE4074-F7FF-8DF0-A013-BD51288F84FD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2774373" y="2537403"/>
              <a:ext cx="1047750" cy="323850"/>
            </a:xfrm>
            <a:prstGeom prst="rect">
              <a:avLst/>
            </a:prstGeom>
            <a:noFill/>
          </p:spPr>
        </p:pic>
      </p:grpSp>
      <p:grpSp>
        <p:nvGrpSpPr>
          <p:cNvPr id="2048" name="Group 2047">
            <a:extLst>
              <a:ext uri="{FF2B5EF4-FFF2-40B4-BE49-F238E27FC236}">
                <a16:creationId xmlns:a16="http://schemas.microsoft.com/office/drawing/2014/main" id="{0C83AC39-9477-88E6-4598-5D348F66C7FD}"/>
              </a:ext>
            </a:extLst>
          </p:cNvPr>
          <p:cNvGrpSpPr/>
          <p:nvPr/>
        </p:nvGrpSpPr>
        <p:grpSpPr>
          <a:xfrm>
            <a:off x="7778576" y="1898798"/>
            <a:ext cx="1961521" cy="1465548"/>
            <a:chOff x="7182138" y="1963452"/>
            <a:chExt cx="1961521" cy="1465548"/>
          </a:xfrm>
        </p:grpSpPr>
        <p:sp>
          <p:nvSpPr>
            <p:cNvPr id="7" name="Rectangle 322">
              <a:extLst>
                <a:ext uri="{FF2B5EF4-FFF2-40B4-BE49-F238E27FC236}">
                  <a16:creationId xmlns:a16="http://schemas.microsoft.com/office/drawing/2014/main" id="{E87E68A3-5EDF-9867-2635-9926EF3375D1}"/>
                </a:ext>
              </a:extLst>
            </p:cNvPr>
            <p:cNvSpPr/>
            <p:nvPr/>
          </p:nvSpPr>
          <p:spPr>
            <a:xfrm>
              <a:off x="7817205" y="1963452"/>
              <a:ext cx="634789" cy="311945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>
                <a:tabLst>
                  <a:tab pos="4543044" algn="l"/>
                </a:tabLst>
              </a:pPr>
              <a:r>
                <a:rPr lang="fr-FR" sz="2027" b="1" i="0" spc="0" baseline="0" dirty="0">
                  <a:solidFill>
                    <a:srgbClr val="4B71B1"/>
                  </a:solidFill>
                  <a:latin typeface="Arial"/>
                </a:rPr>
                <a:t>Big 4</a:t>
              </a:r>
            </a:p>
          </p:txBody>
        </p:sp>
        <p:pic>
          <p:nvPicPr>
            <p:cNvPr id="16" name="Picture 314">
              <a:extLst>
                <a:ext uri="{FF2B5EF4-FFF2-40B4-BE49-F238E27FC236}">
                  <a16:creationId xmlns:a16="http://schemas.microsoft.com/office/drawing/2014/main" id="{5280689E-55E6-B86A-B204-5E513D8DB3D4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7182138" y="2488537"/>
              <a:ext cx="771525" cy="152400"/>
            </a:xfrm>
            <a:prstGeom prst="rect">
              <a:avLst/>
            </a:prstGeom>
            <a:noFill/>
          </p:spPr>
        </p:pic>
        <p:pic>
          <p:nvPicPr>
            <p:cNvPr id="17" name="Picture 317">
              <a:extLst>
                <a:ext uri="{FF2B5EF4-FFF2-40B4-BE49-F238E27FC236}">
                  <a16:creationId xmlns:a16="http://schemas.microsoft.com/office/drawing/2014/main" id="{FBB9CF9D-92D7-509D-9CC8-B5F439FF31D4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8601363" y="2412337"/>
              <a:ext cx="438150" cy="342900"/>
            </a:xfrm>
            <a:prstGeom prst="rect">
              <a:avLst/>
            </a:prstGeom>
            <a:noFill/>
          </p:spPr>
        </p:pic>
        <p:pic>
          <p:nvPicPr>
            <p:cNvPr id="18" name="Picture 2" descr="EY (entreprise) — Wikipédia">
              <a:extLst>
                <a:ext uri="{FF2B5EF4-FFF2-40B4-BE49-F238E27FC236}">
                  <a16:creationId xmlns:a16="http://schemas.microsoft.com/office/drawing/2014/main" id="{160BF011-CD88-C9E8-2971-EB9035DAD85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77244" y="2894767"/>
              <a:ext cx="421552" cy="4257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0" name="Picture 2" descr="KPMG — Wikipédia">
              <a:extLst>
                <a:ext uri="{FF2B5EF4-FFF2-40B4-BE49-F238E27FC236}">
                  <a16:creationId xmlns:a16="http://schemas.microsoft.com/office/drawing/2014/main" id="{F13A0145-C715-9AFD-34EF-C2302D5B34D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91789" y="3033974"/>
              <a:ext cx="951870" cy="3950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49" name="Group 2048">
            <a:extLst>
              <a:ext uri="{FF2B5EF4-FFF2-40B4-BE49-F238E27FC236}">
                <a16:creationId xmlns:a16="http://schemas.microsoft.com/office/drawing/2014/main" id="{8EDD9947-91AB-BAC4-DA5A-6A81B92C6654}"/>
              </a:ext>
            </a:extLst>
          </p:cNvPr>
          <p:cNvGrpSpPr/>
          <p:nvPr/>
        </p:nvGrpSpPr>
        <p:grpSpPr>
          <a:xfrm>
            <a:off x="7388769" y="3863545"/>
            <a:ext cx="2741135" cy="1020759"/>
            <a:chOff x="7065496" y="3863545"/>
            <a:chExt cx="2741135" cy="1020759"/>
          </a:xfrm>
        </p:grpSpPr>
        <p:sp>
          <p:nvSpPr>
            <p:cNvPr id="8" name="Rectangle 322">
              <a:extLst>
                <a:ext uri="{FF2B5EF4-FFF2-40B4-BE49-F238E27FC236}">
                  <a16:creationId xmlns:a16="http://schemas.microsoft.com/office/drawing/2014/main" id="{27817B3C-39B2-5B07-F242-7371BB172F3B}"/>
                </a:ext>
              </a:extLst>
            </p:cNvPr>
            <p:cNvSpPr/>
            <p:nvPr/>
          </p:nvSpPr>
          <p:spPr>
            <a:xfrm>
              <a:off x="7065496" y="3863545"/>
              <a:ext cx="2741135" cy="311945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>
                <a:tabLst>
                  <a:tab pos="4543044" algn="l"/>
                </a:tabLst>
              </a:pPr>
              <a:r>
                <a:rPr lang="fr-FR" sz="2027" b="1" i="0" spc="0" baseline="0" dirty="0">
                  <a:solidFill>
                    <a:srgbClr val="4B71B1"/>
                  </a:solidFill>
                  <a:latin typeface="Arial"/>
                </a:rPr>
                <a:t>Tech Consulting </a:t>
              </a:r>
              <a:r>
                <a:rPr lang="fr-FR" sz="2027" b="1" i="0" spc="0" baseline="0" dirty="0" err="1">
                  <a:solidFill>
                    <a:srgbClr val="4B71B1"/>
                  </a:solidFill>
                  <a:latin typeface="Arial"/>
                </a:rPr>
                <a:t>firms</a:t>
              </a:r>
              <a:endParaRPr lang="fr-FR" sz="2027" b="1" i="0" spc="0" baseline="0" dirty="0">
                <a:solidFill>
                  <a:srgbClr val="4B71B1"/>
                </a:solidFill>
                <a:latin typeface="Arial"/>
              </a:endParaRPr>
            </a:p>
          </p:txBody>
        </p:sp>
        <p:pic>
          <p:nvPicPr>
            <p:cNvPr id="19" name="Picture 311">
              <a:extLst>
                <a:ext uri="{FF2B5EF4-FFF2-40B4-BE49-F238E27FC236}">
                  <a16:creationId xmlns:a16="http://schemas.microsoft.com/office/drawing/2014/main" id="{DEEA310B-2B9D-C356-C862-AA181F62B4A5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8589817" y="4600286"/>
              <a:ext cx="800100" cy="219075"/>
            </a:xfrm>
            <a:prstGeom prst="rect">
              <a:avLst/>
            </a:prstGeom>
            <a:noFill/>
          </p:spPr>
        </p:pic>
        <p:pic>
          <p:nvPicPr>
            <p:cNvPr id="20" name="Picture 313">
              <a:extLst>
                <a:ext uri="{FF2B5EF4-FFF2-40B4-BE49-F238E27FC236}">
                  <a16:creationId xmlns:a16="http://schemas.microsoft.com/office/drawing/2014/main" id="{B72B3F6B-251F-EE65-B5F2-7F1575F597C8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7232649" y="4674754"/>
              <a:ext cx="952500" cy="209550"/>
            </a:xfrm>
            <a:prstGeom prst="rect">
              <a:avLst/>
            </a:prstGeom>
            <a:noFill/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C3C363B-B291-CADB-19BD-7B976148F7BA}"/>
              </a:ext>
            </a:extLst>
          </p:cNvPr>
          <p:cNvGrpSpPr/>
          <p:nvPr/>
        </p:nvGrpSpPr>
        <p:grpSpPr>
          <a:xfrm>
            <a:off x="1134341" y="3867010"/>
            <a:ext cx="3742459" cy="2589209"/>
            <a:chOff x="1134341" y="3867010"/>
            <a:chExt cx="3742459" cy="2589209"/>
          </a:xfrm>
        </p:grpSpPr>
        <p:sp>
          <p:nvSpPr>
            <p:cNvPr id="4" name="Rectangle 322">
              <a:extLst>
                <a:ext uri="{FF2B5EF4-FFF2-40B4-BE49-F238E27FC236}">
                  <a16:creationId xmlns:a16="http://schemas.microsoft.com/office/drawing/2014/main" id="{5FB90968-5BCF-96EE-9F97-7AA87AFA013B}"/>
                </a:ext>
              </a:extLst>
            </p:cNvPr>
            <p:cNvSpPr/>
            <p:nvPr/>
          </p:nvSpPr>
          <p:spPr>
            <a:xfrm>
              <a:off x="1991848" y="3867010"/>
              <a:ext cx="1745671" cy="311945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marL="0">
                <a:tabLst>
                  <a:tab pos="4543044" algn="l"/>
                </a:tabLst>
              </a:pPr>
              <a:r>
                <a:rPr lang="fr-FR" sz="2027" b="1" i="0" spc="0" baseline="0" dirty="0" err="1">
                  <a:solidFill>
                    <a:srgbClr val="4B71B1"/>
                  </a:solidFill>
                  <a:latin typeface="Arial"/>
                </a:rPr>
                <a:t>Strategy</a:t>
              </a:r>
              <a:r>
                <a:rPr lang="fr-FR" sz="2027" b="1" i="0" spc="0" baseline="0" dirty="0">
                  <a:solidFill>
                    <a:srgbClr val="4B71B1"/>
                  </a:solidFill>
                  <a:latin typeface="Arial"/>
                </a:rPr>
                <a:t> </a:t>
              </a:r>
              <a:r>
                <a:rPr lang="fr-FR" sz="2027" b="1" i="0" spc="0" baseline="0" dirty="0" err="1">
                  <a:solidFill>
                    <a:srgbClr val="4B71B1"/>
                  </a:solidFill>
                  <a:latin typeface="Arial"/>
                </a:rPr>
                <a:t>firms</a:t>
              </a:r>
              <a:endParaRPr lang="fr-FR" sz="2027" b="1" i="0" spc="0" baseline="0" dirty="0">
                <a:solidFill>
                  <a:srgbClr val="4B71B1"/>
                </a:solidFill>
                <a:latin typeface="Arial"/>
              </a:endParaRPr>
            </a:p>
          </p:txBody>
        </p:sp>
        <p:pic>
          <p:nvPicPr>
            <p:cNvPr id="12" name="Picture 304">
              <a:extLst>
                <a:ext uri="{FF2B5EF4-FFF2-40B4-BE49-F238E27FC236}">
                  <a16:creationId xmlns:a16="http://schemas.microsoft.com/office/drawing/2014/main" id="{4F2C57F8-EDDE-07C7-FBAF-DF30B77B1FF4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1617519" y="4868430"/>
              <a:ext cx="942975" cy="257175"/>
            </a:xfrm>
            <a:prstGeom prst="rect">
              <a:avLst/>
            </a:prstGeom>
            <a:noFill/>
          </p:spPr>
        </p:pic>
        <p:pic>
          <p:nvPicPr>
            <p:cNvPr id="13" name="Picture 306">
              <a:extLst>
                <a:ext uri="{FF2B5EF4-FFF2-40B4-BE49-F238E27FC236}">
                  <a16:creationId xmlns:a16="http://schemas.microsoft.com/office/drawing/2014/main" id="{021113F0-4579-2182-3505-E4ABBDD4BD42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1673803" y="4433744"/>
              <a:ext cx="1190625" cy="114300"/>
            </a:xfrm>
            <a:prstGeom prst="rect">
              <a:avLst/>
            </a:prstGeom>
            <a:noFill/>
          </p:spPr>
        </p:pic>
        <p:pic>
          <p:nvPicPr>
            <p:cNvPr id="22" name="Picture 308">
              <a:extLst>
                <a:ext uri="{FF2B5EF4-FFF2-40B4-BE49-F238E27FC236}">
                  <a16:creationId xmlns:a16="http://schemas.microsoft.com/office/drawing/2014/main" id="{67646717-9379-D396-6CCE-C89084517DEC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1134341" y="5489864"/>
              <a:ext cx="457200" cy="314325"/>
            </a:xfrm>
            <a:prstGeom prst="rect">
              <a:avLst/>
            </a:prstGeom>
            <a:noFill/>
          </p:spPr>
        </p:pic>
        <p:pic>
          <p:nvPicPr>
            <p:cNvPr id="2052" name="Picture 4" descr="Kearney | Management Consulting Firm - Management Consulted">
              <a:extLst>
                <a:ext uri="{FF2B5EF4-FFF2-40B4-BE49-F238E27FC236}">
                  <a16:creationId xmlns:a16="http://schemas.microsoft.com/office/drawing/2014/main" id="{0317A77F-6466-330C-8561-5CC8C0FDB1A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00" t="38256" r="1300" b="38256"/>
            <a:stretch/>
          </p:blipFill>
          <p:spPr bwMode="auto">
            <a:xfrm>
              <a:off x="1320801" y="5985898"/>
              <a:ext cx="877879" cy="2117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326">
              <a:extLst>
                <a:ext uri="{FF2B5EF4-FFF2-40B4-BE49-F238E27FC236}">
                  <a16:creationId xmlns:a16="http://schemas.microsoft.com/office/drawing/2014/main" id="{1D7A0AC5-A502-5257-36CB-4D2EF7DD3130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3676073" y="4470401"/>
              <a:ext cx="742950" cy="314325"/>
            </a:xfrm>
            <a:prstGeom prst="rect">
              <a:avLst/>
            </a:prstGeom>
            <a:noFill/>
          </p:spPr>
        </p:pic>
        <p:pic>
          <p:nvPicPr>
            <p:cNvPr id="26" name="Picture 336">
              <a:extLst>
                <a:ext uri="{FF2B5EF4-FFF2-40B4-BE49-F238E27FC236}">
                  <a16:creationId xmlns:a16="http://schemas.microsoft.com/office/drawing/2014/main" id="{F0169ECE-7CA6-3B2F-0E0D-3A059CD0A7B9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3381086" y="4853710"/>
              <a:ext cx="1190625" cy="514350"/>
            </a:xfrm>
            <a:prstGeom prst="rect">
              <a:avLst/>
            </a:prstGeom>
            <a:noFill/>
          </p:spPr>
        </p:pic>
        <p:pic>
          <p:nvPicPr>
            <p:cNvPr id="2054" name="Picture 6" descr="Strategy&amp;">
              <a:extLst>
                <a:ext uri="{FF2B5EF4-FFF2-40B4-BE49-F238E27FC236}">
                  <a16:creationId xmlns:a16="http://schemas.microsoft.com/office/drawing/2014/main" id="{70AA8B9C-6CA9-62A8-B0FB-FA28740FE9D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01015" y="5606474"/>
              <a:ext cx="1046981" cy="3226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24C296D-6947-1D1F-6D95-E16DDFDF5A3B}"/>
                </a:ext>
              </a:extLst>
            </p:cNvPr>
            <p:cNvSpPr/>
            <p:nvPr/>
          </p:nvSpPr>
          <p:spPr>
            <a:xfrm>
              <a:off x="3205018" y="4267201"/>
              <a:ext cx="1671782" cy="2068945"/>
            </a:xfrm>
            <a:prstGeom prst="rect">
              <a:avLst/>
            </a:prstGeom>
            <a:noFill/>
            <a:ln w="635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8" name="Picture 312">
              <a:extLst>
                <a:ext uri="{FF2B5EF4-FFF2-40B4-BE49-F238E27FC236}">
                  <a16:creationId xmlns:a16="http://schemas.microsoft.com/office/drawing/2014/main" id="{C6FE1A1D-F5AB-6941-7F28-095EA1B7670D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1847850" y="5552787"/>
              <a:ext cx="1266825" cy="133350"/>
            </a:xfrm>
            <a:prstGeom prst="rect">
              <a:avLst/>
            </a:prstGeom>
            <a:noFill/>
          </p:spPr>
        </p:pic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3AB3880D-D8D2-FAEF-1613-824C9FCB0E64}"/>
                </a:ext>
              </a:extLst>
            </p:cNvPr>
            <p:cNvSpPr/>
            <p:nvPr/>
          </p:nvSpPr>
          <p:spPr>
            <a:xfrm>
              <a:off x="3472873" y="6197601"/>
              <a:ext cx="1089891" cy="258618"/>
            </a:xfrm>
            <a:prstGeom prst="roundRect">
              <a:avLst/>
            </a:prstGeom>
            <a:solidFill>
              <a:srgbClr val="4B71B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/>
                <a:t>Big 4 own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59084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Freeform 34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0" t="0" r="0" b="0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342" name="Picture 342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343" name="Freeform 343"/>
          <p:cNvSpPr/>
          <p:nvPr/>
        </p:nvSpPr>
        <p:spPr>
          <a:xfrm>
            <a:off x="666750" y="1685914"/>
            <a:ext cx="971041" cy="56908"/>
          </a:xfrm>
          <a:custGeom>
            <a:avLst/>
            <a:gdLst/>
            <a:ahLst/>
            <a:cxnLst/>
            <a:rect l="0" t="0" r="0" b="0"/>
            <a:pathLst>
              <a:path w="971041" h="56908">
                <a:moveTo>
                  <a:pt x="0" y="56908"/>
                </a:moveTo>
                <a:lnTo>
                  <a:pt x="971041" y="56908"/>
                </a:lnTo>
                <a:lnTo>
                  <a:pt x="971041" y="0"/>
                </a:lnTo>
                <a:lnTo>
                  <a:pt x="0" y="0"/>
                </a:lnTo>
                <a:lnTo>
                  <a:pt x="0" y="56908"/>
                </a:lnTo>
                <a:close/>
              </a:path>
            </a:pathLst>
          </a:custGeom>
          <a:solidFill>
            <a:srgbClr val="EBBE20">
              <a:alpha val="10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44" name="Freeform 344"/>
          <p:cNvSpPr/>
          <p:nvPr/>
        </p:nvSpPr>
        <p:spPr>
          <a:xfrm>
            <a:off x="671512" y="1690740"/>
            <a:ext cx="971042" cy="56907"/>
          </a:xfrm>
          <a:custGeom>
            <a:avLst/>
            <a:gdLst/>
            <a:ahLst/>
            <a:cxnLst/>
            <a:rect l="0" t="0" r="0" b="0"/>
            <a:pathLst>
              <a:path w="971042" h="56907">
                <a:moveTo>
                  <a:pt x="0" y="56907"/>
                </a:moveTo>
                <a:lnTo>
                  <a:pt x="971042" y="56907"/>
                </a:lnTo>
                <a:lnTo>
                  <a:pt x="971042" y="0"/>
                </a:lnTo>
                <a:lnTo>
                  <a:pt x="0" y="0"/>
                </a:lnTo>
                <a:lnTo>
                  <a:pt x="0" y="56907"/>
                </a:lnTo>
                <a:close/>
              </a:path>
            </a:pathLst>
          </a:custGeom>
          <a:noFill/>
          <a:ln w="10667" cap="flat" cmpd="sng">
            <a:solidFill>
              <a:srgbClr val="EBBE20">
                <a:alpha val="100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45" name="Freeform 345"/>
          <p:cNvSpPr/>
          <p:nvPr/>
        </p:nvSpPr>
        <p:spPr>
          <a:xfrm>
            <a:off x="2076450" y="3124200"/>
            <a:ext cx="2295144" cy="2295145"/>
          </a:xfrm>
          <a:custGeom>
            <a:avLst/>
            <a:gdLst/>
            <a:ahLst/>
            <a:cxnLst/>
            <a:rect l="0" t="0" r="0" b="0"/>
            <a:pathLst>
              <a:path w="2295144" h="2295145">
                <a:moveTo>
                  <a:pt x="1147572" y="0"/>
                </a:moveTo>
                <a:lnTo>
                  <a:pt x="1099057" y="1016"/>
                </a:lnTo>
                <a:lnTo>
                  <a:pt x="1051051" y="3937"/>
                </a:lnTo>
                <a:lnTo>
                  <a:pt x="1003680" y="8891"/>
                </a:lnTo>
                <a:lnTo>
                  <a:pt x="956817" y="15748"/>
                </a:lnTo>
                <a:lnTo>
                  <a:pt x="910589" y="24511"/>
                </a:lnTo>
                <a:lnTo>
                  <a:pt x="864997" y="35053"/>
                </a:lnTo>
                <a:lnTo>
                  <a:pt x="820166" y="47372"/>
                </a:lnTo>
                <a:lnTo>
                  <a:pt x="776097" y="61468"/>
                </a:lnTo>
                <a:lnTo>
                  <a:pt x="732789" y="77216"/>
                </a:lnTo>
                <a:lnTo>
                  <a:pt x="690372" y="94742"/>
                </a:lnTo>
                <a:lnTo>
                  <a:pt x="648842" y="113792"/>
                </a:lnTo>
                <a:lnTo>
                  <a:pt x="608076" y="134493"/>
                </a:lnTo>
                <a:lnTo>
                  <a:pt x="568451" y="156718"/>
                </a:lnTo>
                <a:lnTo>
                  <a:pt x="529717" y="180467"/>
                </a:lnTo>
                <a:lnTo>
                  <a:pt x="491998" y="205614"/>
                </a:lnTo>
                <a:lnTo>
                  <a:pt x="455295" y="232284"/>
                </a:lnTo>
                <a:lnTo>
                  <a:pt x="419861" y="260223"/>
                </a:lnTo>
                <a:lnTo>
                  <a:pt x="385445" y="289687"/>
                </a:lnTo>
                <a:lnTo>
                  <a:pt x="352298" y="320295"/>
                </a:lnTo>
                <a:lnTo>
                  <a:pt x="320294" y="352298"/>
                </a:lnTo>
                <a:lnTo>
                  <a:pt x="289686" y="385446"/>
                </a:lnTo>
                <a:lnTo>
                  <a:pt x="260223" y="419862"/>
                </a:lnTo>
                <a:lnTo>
                  <a:pt x="232282" y="455296"/>
                </a:lnTo>
                <a:lnTo>
                  <a:pt x="205613" y="491999"/>
                </a:lnTo>
                <a:lnTo>
                  <a:pt x="180467" y="529718"/>
                </a:lnTo>
                <a:lnTo>
                  <a:pt x="156717" y="568452"/>
                </a:lnTo>
                <a:lnTo>
                  <a:pt x="134492" y="608077"/>
                </a:lnTo>
                <a:lnTo>
                  <a:pt x="113792" y="648843"/>
                </a:lnTo>
                <a:lnTo>
                  <a:pt x="94742" y="690373"/>
                </a:lnTo>
                <a:lnTo>
                  <a:pt x="77216" y="732790"/>
                </a:lnTo>
                <a:lnTo>
                  <a:pt x="61467" y="776098"/>
                </a:lnTo>
                <a:lnTo>
                  <a:pt x="47370" y="820167"/>
                </a:lnTo>
                <a:lnTo>
                  <a:pt x="35051" y="864998"/>
                </a:lnTo>
                <a:lnTo>
                  <a:pt x="24510" y="910590"/>
                </a:lnTo>
                <a:lnTo>
                  <a:pt x="15748" y="956818"/>
                </a:lnTo>
                <a:lnTo>
                  <a:pt x="8889" y="1003681"/>
                </a:lnTo>
                <a:lnTo>
                  <a:pt x="3936" y="1051052"/>
                </a:lnTo>
                <a:lnTo>
                  <a:pt x="1016" y="1099058"/>
                </a:lnTo>
                <a:lnTo>
                  <a:pt x="0" y="1147573"/>
                </a:lnTo>
                <a:lnTo>
                  <a:pt x="1016" y="1196086"/>
                </a:lnTo>
                <a:lnTo>
                  <a:pt x="3936" y="1244093"/>
                </a:lnTo>
                <a:lnTo>
                  <a:pt x="8889" y="1291464"/>
                </a:lnTo>
                <a:lnTo>
                  <a:pt x="15748" y="1338327"/>
                </a:lnTo>
                <a:lnTo>
                  <a:pt x="24510" y="1384555"/>
                </a:lnTo>
                <a:lnTo>
                  <a:pt x="35051" y="1430148"/>
                </a:lnTo>
                <a:lnTo>
                  <a:pt x="47370" y="1474978"/>
                </a:lnTo>
                <a:lnTo>
                  <a:pt x="61467" y="1519048"/>
                </a:lnTo>
                <a:lnTo>
                  <a:pt x="77216" y="1562355"/>
                </a:lnTo>
                <a:lnTo>
                  <a:pt x="94742" y="1604773"/>
                </a:lnTo>
                <a:lnTo>
                  <a:pt x="113792" y="1646302"/>
                </a:lnTo>
                <a:lnTo>
                  <a:pt x="134492" y="1687068"/>
                </a:lnTo>
                <a:lnTo>
                  <a:pt x="156717" y="1726693"/>
                </a:lnTo>
                <a:lnTo>
                  <a:pt x="180467" y="1765427"/>
                </a:lnTo>
                <a:lnTo>
                  <a:pt x="205613" y="1803146"/>
                </a:lnTo>
                <a:lnTo>
                  <a:pt x="232282" y="1839849"/>
                </a:lnTo>
                <a:lnTo>
                  <a:pt x="260223" y="1875283"/>
                </a:lnTo>
                <a:lnTo>
                  <a:pt x="289686" y="1909699"/>
                </a:lnTo>
                <a:lnTo>
                  <a:pt x="320294" y="1942846"/>
                </a:lnTo>
                <a:lnTo>
                  <a:pt x="352298" y="1974850"/>
                </a:lnTo>
                <a:lnTo>
                  <a:pt x="385445" y="2005458"/>
                </a:lnTo>
                <a:lnTo>
                  <a:pt x="419861" y="2034921"/>
                </a:lnTo>
                <a:lnTo>
                  <a:pt x="455295" y="2062861"/>
                </a:lnTo>
                <a:lnTo>
                  <a:pt x="491998" y="2089531"/>
                </a:lnTo>
                <a:lnTo>
                  <a:pt x="529717" y="2114678"/>
                </a:lnTo>
                <a:lnTo>
                  <a:pt x="568451" y="2138426"/>
                </a:lnTo>
                <a:lnTo>
                  <a:pt x="608076" y="2160651"/>
                </a:lnTo>
                <a:lnTo>
                  <a:pt x="648842" y="2181353"/>
                </a:lnTo>
                <a:lnTo>
                  <a:pt x="690372" y="2200403"/>
                </a:lnTo>
                <a:lnTo>
                  <a:pt x="732789" y="2217928"/>
                </a:lnTo>
                <a:lnTo>
                  <a:pt x="776097" y="2233676"/>
                </a:lnTo>
                <a:lnTo>
                  <a:pt x="820166" y="2247773"/>
                </a:lnTo>
                <a:lnTo>
                  <a:pt x="864997" y="2260092"/>
                </a:lnTo>
                <a:lnTo>
                  <a:pt x="910589" y="2270634"/>
                </a:lnTo>
                <a:lnTo>
                  <a:pt x="956817" y="2279397"/>
                </a:lnTo>
                <a:lnTo>
                  <a:pt x="1003680" y="2286254"/>
                </a:lnTo>
                <a:lnTo>
                  <a:pt x="1051051" y="2291081"/>
                </a:lnTo>
                <a:lnTo>
                  <a:pt x="1099057" y="2294128"/>
                </a:lnTo>
                <a:lnTo>
                  <a:pt x="1147572" y="2295145"/>
                </a:lnTo>
                <a:lnTo>
                  <a:pt x="1196085" y="2294128"/>
                </a:lnTo>
                <a:lnTo>
                  <a:pt x="1244091" y="2291081"/>
                </a:lnTo>
                <a:lnTo>
                  <a:pt x="1291463" y="2286254"/>
                </a:lnTo>
                <a:lnTo>
                  <a:pt x="1338326" y="2279397"/>
                </a:lnTo>
                <a:lnTo>
                  <a:pt x="1384553" y="2270634"/>
                </a:lnTo>
                <a:lnTo>
                  <a:pt x="1430146" y="2260092"/>
                </a:lnTo>
                <a:lnTo>
                  <a:pt x="1474978" y="2247773"/>
                </a:lnTo>
                <a:lnTo>
                  <a:pt x="1519046" y="2233676"/>
                </a:lnTo>
                <a:lnTo>
                  <a:pt x="1562353" y="2217928"/>
                </a:lnTo>
                <a:lnTo>
                  <a:pt x="1604771" y="2200403"/>
                </a:lnTo>
                <a:lnTo>
                  <a:pt x="1646301" y="2181353"/>
                </a:lnTo>
                <a:lnTo>
                  <a:pt x="1687067" y="2160651"/>
                </a:lnTo>
                <a:lnTo>
                  <a:pt x="1726691" y="2138426"/>
                </a:lnTo>
                <a:lnTo>
                  <a:pt x="1765427" y="2114678"/>
                </a:lnTo>
                <a:lnTo>
                  <a:pt x="1803146" y="2089531"/>
                </a:lnTo>
                <a:lnTo>
                  <a:pt x="1839848" y="2062861"/>
                </a:lnTo>
                <a:lnTo>
                  <a:pt x="1875282" y="2034921"/>
                </a:lnTo>
                <a:lnTo>
                  <a:pt x="1909698" y="2005458"/>
                </a:lnTo>
                <a:lnTo>
                  <a:pt x="1942846" y="1974850"/>
                </a:lnTo>
                <a:lnTo>
                  <a:pt x="1974850" y="1942846"/>
                </a:lnTo>
                <a:lnTo>
                  <a:pt x="2005457" y="1909699"/>
                </a:lnTo>
                <a:lnTo>
                  <a:pt x="2034921" y="1875283"/>
                </a:lnTo>
                <a:lnTo>
                  <a:pt x="2062860" y="1839849"/>
                </a:lnTo>
                <a:lnTo>
                  <a:pt x="2089530" y="1803146"/>
                </a:lnTo>
                <a:lnTo>
                  <a:pt x="2114677" y="1765427"/>
                </a:lnTo>
                <a:lnTo>
                  <a:pt x="2138426" y="1726693"/>
                </a:lnTo>
                <a:lnTo>
                  <a:pt x="2160651" y="1687068"/>
                </a:lnTo>
                <a:lnTo>
                  <a:pt x="2181352" y="1646302"/>
                </a:lnTo>
                <a:lnTo>
                  <a:pt x="2200402" y="1604773"/>
                </a:lnTo>
                <a:lnTo>
                  <a:pt x="2217928" y="1562355"/>
                </a:lnTo>
                <a:lnTo>
                  <a:pt x="2233676" y="1519048"/>
                </a:lnTo>
                <a:lnTo>
                  <a:pt x="2247772" y="1474978"/>
                </a:lnTo>
                <a:lnTo>
                  <a:pt x="2260091" y="1430148"/>
                </a:lnTo>
                <a:lnTo>
                  <a:pt x="2270633" y="1384555"/>
                </a:lnTo>
                <a:lnTo>
                  <a:pt x="2279396" y="1338327"/>
                </a:lnTo>
                <a:lnTo>
                  <a:pt x="2286253" y="1291464"/>
                </a:lnTo>
                <a:lnTo>
                  <a:pt x="2291079" y="1244093"/>
                </a:lnTo>
                <a:lnTo>
                  <a:pt x="2294128" y="1196086"/>
                </a:lnTo>
                <a:lnTo>
                  <a:pt x="2295144" y="1147573"/>
                </a:lnTo>
                <a:lnTo>
                  <a:pt x="2294128" y="1099058"/>
                </a:lnTo>
                <a:lnTo>
                  <a:pt x="2291079" y="1051052"/>
                </a:lnTo>
                <a:lnTo>
                  <a:pt x="2286253" y="1003681"/>
                </a:lnTo>
                <a:lnTo>
                  <a:pt x="2279396" y="956818"/>
                </a:lnTo>
                <a:lnTo>
                  <a:pt x="2270633" y="910590"/>
                </a:lnTo>
                <a:lnTo>
                  <a:pt x="2260091" y="864998"/>
                </a:lnTo>
                <a:lnTo>
                  <a:pt x="2247772" y="820167"/>
                </a:lnTo>
                <a:lnTo>
                  <a:pt x="2233676" y="776098"/>
                </a:lnTo>
                <a:lnTo>
                  <a:pt x="2217928" y="732790"/>
                </a:lnTo>
                <a:lnTo>
                  <a:pt x="2200402" y="690373"/>
                </a:lnTo>
                <a:lnTo>
                  <a:pt x="2181352" y="648843"/>
                </a:lnTo>
                <a:lnTo>
                  <a:pt x="2160651" y="608077"/>
                </a:lnTo>
                <a:lnTo>
                  <a:pt x="2138426" y="568452"/>
                </a:lnTo>
                <a:lnTo>
                  <a:pt x="2114677" y="529718"/>
                </a:lnTo>
                <a:lnTo>
                  <a:pt x="2089530" y="491999"/>
                </a:lnTo>
                <a:lnTo>
                  <a:pt x="2062860" y="455296"/>
                </a:lnTo>
                <a:lnTo>
                  <a:pt x="2034921" y="419862"/>
                </a:lnTo>
                <a:lnTo>
                  <a:pt x="2005457" y="385446"/>
                </a:lnTo>
                <a:lnTo>
                  <a:pt x="1974850" y="352298"/>
                </a:lnTo>
                <a:lnTo>
                  <a:pt x="1942846" y="320295"/>
                </a:lnTo>
                <a:lnTo>
                  <a:pt x="1909698" y="289687"/>
                </a:lnTo>
                <a:lnTo>
                  <a:pt x="1875282" y="260223"/>
                </a:lnTo>
                <a:lnTo>
                  <a:pt x="1839848" y="232284"/>
                </a:lnTo>
                <a:lnTo>
                  <a:pt x="1803146" y="205614"/>
                </a:lnTo>
                <a:lnTo>
                  <a:pt x="1765427" y="180467"/>
                </a:lnTo>
                <a:lnTo>
                  <a:pt x="1726691" y="156718"/>
                </a:lnTo>
                <a:lnTo>
                  <a:pt x="1687067" y="134493"/>
                </a:lnTo>
                <a:lnTo>
                  <a:pt x="1646301" y="113792"/>
                </a:lnTo>
                <a:lnTo>
                  <a:pt x="1604771" y="94742"/>
                </a:lnTo>
                <a:lnTo>
                  <a:pt x="1562353" y="77216"/>
                </a:lnTo>
                <a:lnTo>
                  <a:pt x="1519046" y="61468"/>
                </a:lnTo>
                <a:lnTo>
                  <a:pt x="1474978" y="47372"/>
                </a:lnTo>
                <a:lnTo>
                  <a:pt x="1430146" y="35053"/>
                </a:lnTo>
                <a:lnTo>
                  <a:pt x="1384553" y="24511"/>
                </a:lnTo>
                <a:lnTo>
                  <a:pt x="1338326" y="15748"/>
                </a:lnTo>
                <a:lnTo>
                  <a:pt x="1291463" y="8891"/>
                </a:lnTo>
                <a:lnTo>
                  <a:pt x="1244091" y="3937"/>
                </a:lnTo>
                <a:lnTo>
                  <a:pt x="1196085" y="1016"/>
                </a:lnTo>
                <a:lnTo>
                  <a:pt x="1147572" y="0"/>
                </a:lnTo>
                <a:close/>
                <a:moveTo>
                  <a:pt x="1657350" y="3733800"/>
                </a:moveTo>
              </a:path>
            </a:pathLst>
          </a:custGeom>
          <a:solidFill>
            <a:srgbClr val="7DACE1">
              <a:alpha val="6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346" name="Picture 346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885950" y="3124200"/>
            <a:ext cx="2295525" cy="2295525"/>
          </a:xfrm>
          <a:prstGeom prst="rect">
            <a:avLst/>
          </a:prstGeom>
          <a:noFill/>
        </p:spPr>
      </p:pic>
      <p:sp>
        <p:nvSpPr>
          <p:cNvPr id="347" name="Freeform 347"/>
          <p:cNvSpPr/>
          <p:nvPr/>
        </p:nvSpPr>
        <p:spPr>
          <a:xfrm>
            <a:off x="809625" y="2916429"/>
            <a:ext cx="1694942" cy="875538"/>
          </a:xfrm>
          <a:custGeom>
            <a:avLst/>
            <a:gdLst/>
            <a:ahLst/>
            <a:cxnLst/>
            <a:rect l="0" t="0" r="0" b="0"/>
            <a:pathLst>
              <a:path w="1694942" h="875538">
                <a:moveTo>
                  <a:pt x="1694942" y="29591"/>
                </a:moveTo>
                <a:lnTo>
                  <a:pt x="1691513" y="11683"/>
                </a:lnTo>
                <a:lnTo>
                  <a:pt x="1677923" y="0"/>
                </a:lnTo>
                <a:lnTo>
                  <a:pt x="1659001" y="2412"/>
                </a:lnTo>
                <a:lnTo>
                  <a:pt x="1618107" y="31495"/>
                </a:lnTo>
                <a:lnTo>
                  <a:pt x="1578736" y="62483"/>
                </a:lnTo>
                <a:lnTo>
                  <a:pt x="1541145" y="95250"/>
                </a:lnTo>
                <a:lnTo>
                  <a:pt x="1505457" y="129920"/>
                </a:lnTo>
                <a:lnTo>
                  <a:pt x="1471422" y="166369"/>
                </a:lnTo>
                <a:lnTo>
                  <a:pt x="1439417" y="204469"/>
                </a:lnTo>
                <a:lnTo>
                  <a:pt x="1409192" y="244348"/>
                </a:lnTo>
                <a:lnTo>
                  <a:pt x="1380744" y="285750"/>
                </a:lnTo>
                <a:lnTo>
                  <a:pt x="1367282" y="307720"/>
                </a:lnTo>
                <a:lnTo>
                  <a:pt x="1343532" y="296037"/>
                </a:lnTo>
                <a:lnTo>
                  <a:pt x="1295145" y="289687"/>
                </a:lnTo>
                <a:lnTo>
                  <a:pt x="1245616" y="295656"/>
                </a:lnTo>
                <a:lnTo>
                  <a:pt x="1196213" y="310514"/>
                </a:lnTo>
                <a:lnTo>
                  <a:pt x="1148333" y="330200"/>
                </a:lnTo>
                <a:lnTo>
                  <a:pt x="1103248" y="351408"/>
                </a:lnTo>
                <a:lnTo>
                  <a:pt x="1007491" y="398780"/>
                </a:lnTo>
                <a:lnTo>
                  <a:pt x="718438" y="538099"/>
                </a:lnTo>
                <a:lnTo>
                  <a:pt x="621538" y="585977"/>
                </a:lnTo>
                <a:lnTo>
                  <a:pt x="573532" y="610488"/>
                </a:lnTo>
                <a:lnTo>
                  <a:pt x="525780" y="635762"/>
                </a:lnTo>
                <a:lnTo>
                  <a:pt x="478789" y="662050"/>
                </a:lnTo>
                <a:lnTo>
                  <a:pt x="432447" y="689610"/>
                </a:lnTo>
                <a:lnTo>
                  <a:pt x="386981" y="718692"/>
                </a:lnTo>
                <a:lnTo>
                  <a:pt x="369671" y="731011"/>
                </a:lnTo>
                <a:lnTo>
                  <a:pt x="334289" y="755649"/>
                </a:lnTo>
                <a:lnTo>
                  <a:pt x="316991" y="767969"/>
                </a:lnTo>
                <a:lnTo>
                  <a:pt x="298018" y="784732"/>
                </a:lnTo>
                <a:lnTo>
                  <a:pt x="277875" y="802132"/>
                </a:lnTo>
                <a:lnTo>
                  <a:pt x="256209" y="816736"/>
                </a:lnTo>
                <a:lnTo>
                  <a:pt x="232600" y="825499"/>
                </a:lnTo>
                <a:lnTo>
                  <a:pt x="183222" y="825373"/>
                </a:lnTo>
                <a:lnTo>
                  <a:pt x="130962" y="810641"/>
                </a:lnTo>
                <a:lnTo>
                  <a:pt x="118719" y="804926"/>
                </a:lnTo>
                <a:lnTo>
                  <a:pt x="80632" y="787399"/>
                </a:lnTo>
                <a:lnTo>
                  <a:pt x="77508" y="785495"/>
                </a:lnTo>
                <a:lnTo>
                  <a:pt x="126898" y="761873"/>
                </a:lnTo>
                <a:lnTo>
                  <a:pt x="1041654" y="324738"/>
                </a:lnTo>
                <a:lnTo>
                  <a:pt x="1053592" y="309880"/>
                </a:lnTo>
                <a:lnTo>
                  <a:pt x="1050035" y="292354"/>
                </a:lnTo>
                <a:lnTo>
                  <a:pt x="1036066" y="280288"/>
                </a:lnTo>
                <a:lnTo>
                  <a:pt x="1016889" y="281558"/>
                </a:lnTo>
                <a:lnTo>
                  <a:pt x="12344" y="761873"/>
                </a:lnTo>
                <a:lnTo>
                  <a:pt x="2501" y="770889"/>
                </a:lnTo>
                <a:lnTo>
                  <a:pt x="0" y="783336"/>
                </a:lnTo>
                <a:lnTo>
                  <a:pt x="3657" y="795908"/>
                </a:lnTo>
                <a:lnTo>
                  <a:pt x="50850" y="827658"/>
                </a:lnTo>
                <a:lnTo>
                  <a:pt x="91859" y="846454"/>
                </a:lnTo>
                <a:lnTo>
                  <a:pt x="134797" y="861441"/>
                </a:lnTo>
                <a:lnTo>
                  <a:pt x="179082" y="872617"/>
                </a:lnTo>
                <a:lnTo>
                  <a:pt x="215264" y="875538"/>
                </a:lnTo>
                <a:lnTo>
                  <a:pt x="247777" y="871346"/>
                </a:lnTo>
                <a:lnTo>
                  <a:pt x="278358" y="859027"/>
                </a:lnTo>
                <a:lnTo>
                  <a:pt x="308749" y="837819"/>
                </a:lnTo>
                <a:lnTo>
                  <a:pt x="324751" y="825499"/>
                </a:lnTo>
                <a:lnTo>
                  <a:pt x="347649" y="807846"/>
                </a:lnTo>
                <a:lnTo>
                  <a:pt x="387134" y="779398"/>
                </a:lnTo>
                <a:lnTo>
                  <a:pt x="427253" y="752474"/>
                </a:lnTo>
                <a:lnTo>
                  <a:pt x="467994" y="726694"/>
                </a:lnTo>
                <a:lnTo>
                  <a:pt x="509524" y="701929"/>
                </a:lnTo>
                <a:lnTo>
                  <a:pt x="551561" y="678180"/>
                </a:lnTo>
                <a:lnTo>
                  <a:pt x="594486" y="655066"/>
                </a:lnTo>
                <a:lnTo>
                  <a:pt x="638047" y="632587"/>
                </a:lnTo>
                <a:lnTo>
                  <a:pt x="1142619" y="386714"/>
                </a:lnTo>
                <a:lnTo>
                  <a:pt x="1189735" y="365760"/>
                </a:lnTo>
                <a:lnTo>
                  <a:pt x="1233042" y="349250"/>
                </a:lnTo>
                <a:lnTo>
                  <a:pt x="1278001" y="339851"/>
                </a:lnTo>
                <a:lnTo>
                  <a:pt x="1322577" y="342392"/>
                </a:lnTo>
                <a:lnTo>
                  <a:pt x="1364742" y="361568"/>
                </a:lnTo>
                <a:lnTo>
                  <a:pt x="1373377" y="365251"/>
                </a:lnTo>
                <a:lnTo>
                  <a:pt x="1406144" y="339851"/>
                </a:lnTo>
                <a:lnTo>
                  <a:pt x="1413001" y="328802"/>
                </a:lnTo>
                <a:lnTo>
                  <a:pt x="1425829" y="308101"/>
                </a:lnTo>
                <a:lnTo>
                  <a:pt x="1456308" y="264668"/>
                </a:lnTo>
                <a:lnTo>
                  <a:pt x="1488948" y="223012"/>
                </a:lnTo>
                <a:lnTo>
                  <a:pt x="1523745" y="183387"/>
                </a:lnTo>
                <a:lnTo>
                  <a:pt x="1560702" y="145668"/>
                </a:lnTo>
                <a:lnTo>
                  <a:pt x="1599692" y="110108"/>
                </a:lnTo>
                <a:lnTo>
                  <a:pt x="1640713" y="76707"/>
                </a:lnTo>
                <a:lnTo>
                  <a:pt x="1683766" y="45593"/>
                </a:lnTo>
                <a:lnTo>
                  <a:pt x="1694942" y="29591"/>
                </a:lnTo>
                <a:close/>
                <a:moveTo>
                  <a:pt x="3102355" y="3941571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48" name="Freeform 348"/>
          <p:cNvSpPr/>
          <p:nvPr/>
        </p:nvSpPr>
        <p:spPr>
          <a:xfrm>
            <a:off x="7634351" y="6057266"/>
            <a:ext cx="312292" cy="400240"/>
          </a:xfrm>
          <a:custGeom>
            <a:avLst/>
            <a:gdLst/>
            <a:ahLst/>
            <a:cxnLst/>
            <a:rect l="0" t="0" r="0" b="0"/>
            <a:pathLst>
              <a:path w="312292" h="400240">
                <a:moveTo>
                  <a:pt x="312292" y="375424"/>
                </a:moveTo>
                <a:lnTo>
                  <a:pt x="304800" y="356654"/>
                </a:lnTo>
                <a:lnTo>
                  <a:pt x="271906" y="321589"/>
                </a:lnTo>
                <a:lnTo>
                  <a:pt x="240030" y="285737"/>
                </a:lnTo>
                <a:lnTo>
                  <a:pt x="209168" y="249085"/>
                </a:lnTo>
                <a:lnTo>
                  <a:pt x="179324" y="211670"/>
                </a:lnTo>
                <a:lnTo>
                  <a:pt x="150621" y="173456"/>
                </a:lnTo>
                <a:lnTo>
                  <a:pt x="123063" y="134454"/>
                </a:lnTo>
                <a:lnTo>
                  <a:pt x="96519" y="94665"/>
                </a:lnTo>
                <a:lnTo>
                  <a:pt x="71374" y="54101"/>
                </a:lnTo>
                <a:lnTo>
                  <a:pt x="47243" y="12738"/>
                </a:lnTo>
                <a:lnTo>
                  <a:pt x="30733" y="0"/>
                </a:lnTo>
                <a:lnTo>
                  <a:pt x="12192" y="3187"/>
                </a:lnTo>
                <a:lnTo>
                  <a:pt x="0" y="17513"/>
                </a:lnTo>
                <a:lnTo>
                  <a:pt x="2667" y="38226"/>
                </a:lnTo>
                <a:lnTo>
                  <a:pt x="27431" y="80987"/>
                </a:lnTo>
                <a:lnTo>
                  <a:pt x="53593" y="122948"/>
                </a:lnTo>
                <a:lnTo>
                  <a:pt x="81026" y="164096"/>
                </a:lnTo>
                <a:lnTo>
                  <a:pt x="109728" y="204406"/>
                </a:lnTo>
                <a:lnTo>
                  <a:pt x="139445" y="243852"/>
                </a:lnTo>
                <a:lnTo>
                  <a:pt x="170306" y="282422"/>
                </a:lnTo>
                <a:lnTo>
                  <a:pt x="202183" y="320116"/>
                </a:lnTo>
                <a:lnTo>
                  <a:pt x="234950" y="356882"/>
                </a:lnTo>
                <a:lnTo>
                  <a:pt x="268605" y="392734"/>
                </a:lnTo>
                <a:lnTo>
                  <a:pt x="287401" y="400240"/>
                </a:lnTo>
                <a:lnTo>
                  <a:pt x="304165" y="392201"/>
                </a:lnTo>
                <a:lnTo>
                  <a:pt x="312292" y="375424"/>
                </a:lnTo>
                <a:close/>
                <a:moveTo>
                  <a:pt x="-7209041" y="800734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49" name="Freeform 349"/>
          <p:cNvSpPr/>
          <p:nvPr/>
        </p:nvSpPr>
        <p:spPr>
          <a:xfrm>
            <a:off x="7277481" y="4621277"/>
            <a:ext cx="1248410" cy="1642122"/>
          </a:xfrm>
          <a:custGeom>
            <a:avLst/>
            <a:gdLst/>
            <a:ahLst/>
            <a:cxnLst/>
            <a:rect l="0" t="0" r="0" b="0"/>
            <a:pathLst>
              <a:path w="1248410" h="1642122">
                <a:moveTo>
                  <a:pt x="1248410" y="17398"/>
                </a:moveTo>
                <a:lnTo>
                  <a:pt x="1236852" y="3556"/>
                </a:lnTo>
                <a:lnTo>
                  <a:pt x="1218564" y="0"/>
                </a:lnTo>
                <a:lnTo>
                  <a:pt x="1202054" y="11556"/>
                </a:lnTo>
                <a:lnTo>
                  <a:pt x="1144524" y="95631"/>
                </a:lnTo>
                <a:lnTo>
                  <a:pt x="1086612" y="179450"/>
                </a:lnTo>
                <a:lnTo>
                  <a:pt x="1028191" y="262890"/>
                </a:lnTo>
                <a:lnTo>
                  <a:pt x="969390" y="346201"/>
                </a:lnTo>
                <a:lnTo>
                  <a:pt x="910209" y="429006"/>
                </a:lnTo>
                <a:lnTo>
                  <a:pt x="850646" y="511682"/>
                </a:lnTo>
                <a:lnTo>
                  <a:pt x="790575" y="593978"/>
                </a:lnTo>
                <a:lnTo>
                  <a:pt x="730123" y="676021"/>
                </a:lnTo>
                <a:lnTo>
                  <a:pt x="669289" y="757682"/>
                </a:lnTo>
                <a:lnTo>
                  <a:pt x="607949" y="839088"/>
                </a:lnTo>
                <a:lnTo>
                  <a:pt x="546226" y="920115"/>
                </a:lnTo>
                <a:lnTo>
                  <a:pt x="484250" y="1000950"/>
                </a:lnTo>
                <a:lnTo>
                  <a:pt x="421766" y="1081455"/>
                </a:lnTo>
                <a:lnTo>
                  <a:pt x="358901" y="1161656"/>
                </a:lnTo>
                <a:lnTo>
                  <a:pt x="295655" y="1241539"/>
                </a:lnTo>
                <a:lnTo>
                  <a:pt x="232028" y="1321130"/>
                </a:lnTo>
                <a:lnTo>
                  <a:pt x="168021" y="1400416"/>
                </a:lnTo>
                <a:lnTo>
                  <a:pt x="103504" y="1479422"/>
                </a:lnTo>
                <a:lnTo>
                  <a:pt x="38735" y="1558099"/>
                </a:lnTo>
                <a:lnTo>
                  <a:pt x="6223" y="1597329"/>
                </a:lnTo>
                <a:lnTo>
                  <a:pt x="0" y="1617306"/>
                </a:lnTo>
                <a:lnTo>
                  <a:pt x="8382" y="1634477"/>
                </a:lnTo>
                <a:lnTo>
                  <a:pt x="24764" y="1642122"/>
                </a:lnTo>
                <a:lnTo>
                  <a:pt x="42417" y="1633423"/>
                </a:lnTo>
                <a:lnTo>
                  <a:pt x="107696" y="1554543"/>
                </a:lnTo>
                <a:lnTo>
                  <a:pt x="172592" y="1475320"/>
                </a:lnTo>
                <a:lnTo>
                  <a:pt x="237236" y="1395780"/>
                </a:lnTo>
                <a:lnTo>
                  <a:pt x="301371" y="1315910"/>
                </a:lnTo>
                <a:lnTo>
                  <a:pt x="365125" y="1235710"/>
                </a:lnTo>
                <a:lnTo>
                  <a:pt x="428498" y="1155179"/>
                </a:lnTo>
                <a:lnTo>
                  <a:pt x="491489" y="1074331"/>
                </a:lnTo>
                <a:lnTo>
                  <a:pt x="554100" y="993152"/>
                </a:lnTo>
                <a:lnTo>
                  <a:pt x="616330" y="911606"/>
                </a:lnTo>
                <a:lnTo>
                  <a:pt x="678052" y="829818"/>
                </a:lnTo>
                <a:lnTo>
                  <a:pt x="739521" y="747648"/>
                </a:lnTo>
                <a:lnTo>
                  <a:pt x="800480" y="665226"/>
                </a:lnTo>
                <a:lnTo>
                  <a:pt x="861060" y="582422"/>
                </a:lnTo>
                <a:lnTo>
                  <a:pt x="921258" y="499363"/>
                </a:lnTo>
                <a:lnTo>
                  <a:pt x="980948" y="416051"/>
                </a:lnTo>
                <a:lnTo>
                  <a:pt x="1040384" y="332359"/>
                </a:lnTo>
                <a:lnTo>
                  <a:pt x="1099185" y="248284"/>
                </a:lnTo>
                <a:lnTo>
                  <a:pt x="1157732" y="163956"/>
                </a:lnTo>
                <a:lnTo>
                  <a:pt x="1215771" y="79375"/>
                </a:lnTo>
                <a:lnTo>
                  <a:pt x="1244600" y="36956"/>
                </a:lnTo>
                <a:lnTo>
                  <a:pt x="1248410" y="17398"/>
                </a:lnTo>
                <a:close/>
                <a:moveTo>
                  <a:pt x="-5058156" y="2236723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50" name="Freeform 350"/>
          <p:cNvSpPr/>
          <p:nvPr/>
        </p:nvSpPr>
        <p:spPr>
          <a:xfrm>
            <a:off x="8285988" y="5218558"/>
            <a:ext cx="333755" cy="309879"/>
          </a:xfrm>
          <a:custGeom>
            <a:avLst/>
            <a:gdLst/>
            <a:ahLst/>
            <a:cxnLst/>
            <a:rect l="0" t="0" r="0" b="0"/>
            <a:pathLst>
              <a:path w="333755" h="309879">
                <a:moveTo>
                  <a:pt x="333755" y="279907"/>
                </a:moveTo>
                <a:lnTo>
                  <a:pt x="323342" y="261239"/>
                </a:lnTo>
                <a:lnTo>
                  <a:pt x="280923" y="227965"/>
                </a:lnTo>
                <a:lnTo>
                  <a:pt x="239268" y="193675"/>
                </a:lnTo>
                <a:lnTo>
                  <a:pt x="198246" y="158495"/>
                </a:lnTo>
                <a:lnTo>
                  <a:pt x="158242" y="122301"/>
                </a:lnTo>
                <a:lnTo>
                  <a:pt x="118871" y="85217"/>
                </a:lnTo>
                <a:lnTo>
                  <a:pt x="80264" y="47370"/>
                </a:lnTo>
                <a:lnTo>
                  <a:pt x="42544" y="8635"/>
                </a:lnTo>
                <a:lnTo>
                  <a:pt x="24892" y="0"/>
                </a:lnTo>
                <a:lnTo>
                  <a:pt x="8508" y="7619"/>
                </a:lnTo>
                <a:lnTo>
                  <a:pt x="0" y="24765"/>
                </a:lnTo>
                <a:lnTo>
                  <a:pt x="6350" y="44704"/>
                </a:lnTo>
                <a:lnTo>
                  <a:pt x="40893" y="79501"/>
                </a:lnTo>
                <a:lnTo>
                  <a:pt x="75818" y="113665"/>
                </a:lnTo>
                <a:lnTo>
                  <a:pt x="111252" y="147192"/>
                </a:lnTo>
                <a:lnTo>
                  <a:pt x="147319" y="180085"/>
                </a:lnTo>
                <a:lnTo>
                  <a:pt x="183895" y="212343"/>
                </a:lnTo>
                <a:lnTo>
                  <a:pt x="221106" y="244093"/>
                </a:lnTo>
                <a:lnTo>
                  <a:pt x="259080" y="275335"/>
                </a:lnTo>
                <a:lnTo>
                  <a:pt x="297815" y="305815"/>
                </a:lnTo>
                <a:lnTo>
                  <a:pt x="316230" y="309879"/>
                </a:lnTo>
                <a:lnTo>
                  <a:pt x="329692" y="298704"/>
                </a:lnTo>
                <a:lnTo>
                  <a:pt x="333755" y="279907"/>
                </a:lnTo>
                <a:close/>
                <a:moveTo>
                  <a:pt x="-6926453" y="1639442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51" name="Freeform 351"/>
          <p:cNvSpPr/>
          <p:nvPr/>
        </p:nvSpPr>
        <p:spPr>
          <a:xfrm>
            <a:off x="8849741" y="4531106"/>
            <a:ext cx="390398" cy="295656"/>
          </a:xfrm>
          <a:custGeom>
            <a:avLst/>
            <a:gdLst/>
            <a:ahLst/>
            <a:cxnLst/>
            <a:rect l="0" t="0" r="0" b="0"/>
            <a:pathLst>
              <a:path w="390398" h="295656">
                <a:moveTo>
                  <a:pt x="390398" y="265558"/>
                </a:moveTo>
                <a:lnTo>
                  <a:pt x="378840" y="248159"/>
                </a:lnTo>
                <a:lnTo>
                  <a:pt x="333755" y="219837"/>
                </a:lnTo>
                <a:lnTo>
                  <a:pt x="242951" y="163958"/>
                </a:lnTo>
                <a:lnTo>
                  <a:pt x="197992" y="135637"/>
                </a:lnTo>
                <a:lnTo>
                  <a:pt x="176911" y="121667"/>
                </a:lnTo>
                <a:lnTo>
                  <a:pt x="133857" y="94489"/>
                </a:lnTo>
                <a:lnTo>
                  <a:pt x="93599" y="67818"/>
                </a:lnTo>
                <a:lnTo>
                  <a:pt x="75311" y="54230"/>
                </a:lnTo>
                <a:lnTo>
                  <a:pt x="59816" y="37719"/>
                </a:lnTo>
                <a:lnTo>
                  <a:pt x="48894" y="16765"/>
                </a:lnTo>
                <a:lnTo>
                  <a:pt x="36194" y="1143"/>
                </a:lnTo>
                <a:lnTo>
                  <a:pt x="17399" y="0"/>
                </a:lnTo>
                <a:lnTo>
                  <a:pt x="2031" y="10542"/>
                </a:lnTo>
                <a:lnTo>
                  <a:pt x="0" y="29465"/>
                </a:lnTo>
                <a:lnTo>
                  <a:pt x="21209" y="70231"/>
                </a:lnTo>
                <a:lnTo>
                  <a:pt x="52959" y="102236"/>
                </a:lnTo>
                <a:lnTo>
                  <a:pt x="90677" y="128652"/>
                </a:lnTo>
                <a:lnTo>
                  <a:pt x="129793" y="152655"/>
                </a:lnTo>
                <a:lnTo>
                  <a:pt x="353187" y="292736"/>
                </a:lnTo>
                <a:lnTo>
                  <a:pt x="372744" y="295656"/>
                </a:lnTo>
                <a:lnTo>
                  <a:pt x="386715" y="283972"/>
                </a:lnTo>
                <a:lnTo>
                  <a:pt x="390398" y="265558"/>
                </a:lnTo>
                <a:close/>
                <a:moveTo>
                  <a:pt x="-6788405" y="2326894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52" name="Freeform 352"/>
          <p:cNvSpPr/>
          <p:nvPr/>
        </p:nvSpPr>
        <p:spPr>
          <a:xfrm>
            <a:off x="9218421" y="3935984"/>
            <a:ext cx="312294" cy="400177"/>
          </a:xfrm>
          <a:custGeom>
            <a:avLst/>
            <a:gdLst/>
            <a:ahLst/>
            <a:cxnLst/>
            <a:rect l="0" t="0" r="0" b="0"/>
            <a:pathLst>
              <a:path w="312294" h="400177">
                <a:moveTo>
                  <a:pt x="312294" y="375412"/>
                </a:moveTo>
                <a:lnTo>
                  <a:pt x="304800" y="356616"/>
                </a:lnTo>
                <a:lnTo>
                  <a:pt x="271908" y="321565"/>
                </a:lnTo>
                <a:lnTo>
                  <a:pt x="240031" y="285750"/>
                </a:lnTo>
                <a:lnTo>
                  <a:pt x="209170" y="249047"/>
                </a:lnTo>
                <a:lnTo>
                  <a:pt x="179451" y="211583"/>
                </a:lnTo>
                <a:lnTo>
                  <a:pt x="150622" y="173483"/>
                </a:lnTo>
                <a:lnTo>
                  <a:pt x="123063" y="134366"/>
                </a:lnTo>
                <a:lnTo>
                  <a:pt x="96647" y="94615"/>
                </a:lnTo>
                <a:lnTo>
                  <a:pt x="71374" y="54102"/>
                </a:lnTo>
                <a:lnTo>
                  <a:pt x="47372" y="12700"/>
                </a:lnTo>
                <a:lnTo>
                  <a:pt x="30735" y="0"/>
                </a:lnTo>
                <a:lnTo>
                  <a:pt x="12193" y="3175"/>
                </a:lnTo>
                <a:lnTo>
                  <a:pt x="0" y="17527"/>
                </a:lnTo>
                <a:lnTo>
                  <a:pt x="2668" y="38227"/>
                </a:lnTo>
                <a:lnTo>
                  <a:pt x="27433" y="80899"/>
                </a:lnTo>
                <a:lnTo>
                  <a:pt x="53595" y="122937"/>
                </a:lnTo>
                <a:lnTo>
                  <a:pt x="81026" y="164084"/>
                </a:lnTo>
                <a:lnTo>
                  <a:pt x="109729" y="204343"/>
                </a:lnTo>
                <a:lnTo>
                  <a:pt x="139447" y="243840"/>
                </a:lnTo>
                <a:lnTo>
                  <a:pt x="170308" y="282449"/>
                </a:lnTo>
                <a:lnTo>
                  <a:pt x="202185" y="320040"/>
                </a:lnTo>
                <a:lnTo>
                  <a:pt x="234950" y="356871"/>
                </a:lnTo>
                <a:lnTo>
                  <a:pt x="268606" y="392684"/>
                </a:lnTo>
                <a:lnTo>
                  <a:pt x="287401" y="400177"/>
                </a:lnTo>
                <a:lnTo>
                  <a:pt x="304293" y="392177"/>
                </a:lnTo>
                <a:lnTo>
                  <a:pt x="312294" y="375412"/>
                </a:lnTo>
                <a:close/>
                <a:moveTo>
                  <a:pt x="-6671817" y="2922016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53" name="Freeform 353"/>
          <p:cNvSpPr/>
          <p:nvPr/>
        </p:nvSpPr>
        <p:spPr>
          <a:xfrm>
            <a:off x="8301228" y="4668012"/>
            <a:ext cx="1334515" cy="1640688"/>
          </a:xfrm>
          <a:custGeom>
            <a:avLst/>
            <a:gdLst/>
            <a:ahLst/>
            <a:cxnLst/>
            <a:rect l="0" t="0" r="0" b="0"/>
            <a:pathLst>
              <a:path w="1334515" h="1640688">
                <a:moveTo>
                  <a:pt x="1334515" y="17399"/>
                </a:moveTo>
                <a:lnTo>
                  <a:pt x="1322831" y="3556"/>
                </a:lnTo>
                <a:lnTo>
                  <a:pt x="1304290" y="0"/>
                </a:lnTo>
                <a:lnTo>
                  <a:pt x="1286890" y="11558"/>
                </a:lnTo>
                <a:lnTo>
                  <a:pt x="1258315" y="55246"/>
                </a:lnTo>
                <a:lnTo>
                  <a:pt x="1228725" y="98299"/>
                </a:lnTo>
                <a:lnTo>
                  <a:pt x="1198372" y="140716"/>
                </a:lnTo>
                <a:lnTo>
                  <a:pt x="1167256" y="182372"/>
                </a:lnTo>
                <a:lnTo>
                  <a:pt x="1135379" y="223647"/>
                </a:lnTo>
                <a:lnTo>
                  <a:pt x="1102867" y="264287"/>
                </a:lnTo>
                <a:lnTo>
                  <a:pt x="1069848" y="304546"/>
                </a:lnTo>
                <a:lnTo>
                  <a:pt x="1036319" y="344552"/>
                </a:lnTo>
                <a:lnTo>
                  <a:pt x="1002411" y="384175"/>
                </a:lnTo>
                <a:lnTo>
                  <a:pt x="968248" y="423546"/>
                </a:lnTo>
                <a:lnTo>
                  <a:pt x="933830" y="462662"/>
                </a:lnTo>
                <a:lnTo>
                  <a:pt x="795401" y="618617"/>
                </a:lnTo>
                <a:lnTo>
                  <a:pt x="761491" y="656591"/>
                </a:lnTo>
                <a:lnTo>
                  <a:pt x="727837" y="694563"/>
                </a:lnTo>
                <a:lnTo>
                  <a:pt x="694308" y="732791"/>
                </a:lnTo>
                <a:lnTo>
                  <a:pt x="660907" y="771144"/>
                </a:lnTo>
                <a:lnTo>
                  <a:pt x="627761" y="809625"/>
                </a:lnTo>
                <a:lnTo>
                  <a:pt x="594740" y="848233"/>
                </a:lnTo>
                <a:lnTo>
                  <a:pt x="561848" y="886969"/>
                </a:lnTo>
                <a:lnTo>
                  <a:pt x="529081" y="925932"/>
                </a:lnTo>
                <a:lnTo>
                  <a:pt x="496569" y="965010"/>
                </a:lnTo>
                <a:lnTo>
                  <a:pt x="464312" y="1004240"/>
                </a:lnTo>
                <a:lnTo>
                  <a:pt x="432053" y="1043623"/>
                </a:lnTo>
                <a:lnTo>
                  <a:pt x="400177" y="1083145"/>
                </a:lnTo>
                <a:lnTo>
                  <a:pt x="368300" y="1122833"/>
                </a:lnTo>
                <a:lnTo>
                  <a:pt x="336677" y="1162660"/>
                </a:lnTo>
                <a:lnTo>
                  <a:pt x="305307" y="1202640"/>
                </a:lnTo>
                <a:lnTo>
                  <a:pt x="274065" y="1242784"/>
                </a:lnTo>
                <a:lnTo>
                  <a:pt x="213360" y="1322071"/>
                </a:lnTo>
                <a:lnTo>
                  <a:pt x="183261" y="1361809"/>
                </a:lnTo>
                <a:lnTo>
                  <a:pt x="153162" y="1401649"/>
                </a:lnTo>
                <a:lnTo>
                  <a:pt x="123190" y="1441641"/>
                </a:lnTo>
                <a:lnTo>
                  <a:pt x="93344" y="1481798"/>
                </a:lnTo>
                <a:lnTo>
                  <a:pt x="63500" y="1522159"/>
                </a:lnTo>
                <a:lnTo>
                  <a:pt x="33654" y="1562774"/>
                </a:lnTo>
                <a:lnTo>
                  <a:pt x="3810" y="1603668"/>
                </a:lnTo>
                <a:lnTo>
                  <a:pt x="0" y="1623175"/>
                </a:lnTo>
                <a:lnTo>
                  <a:pt x="11811" y="1637107"/>
                </a:lnTo>
                <a:lnTo>
                  <a:pt x="30733" y="1640688"/>
                </a:lnTo>
                <a:lnTo>
                  <a:pt x="48514" y="1629144"/>
                </a:lnTo>
                <a:lnTo>
                  <a:pt x="78486" y="1587805"/>
                </a:lnTo>
                <a:lnTo>
                  <a:pt x="108712" y="1546556"/>
                </a:lnTo>
                <a:lnTo>
                  <a:pt x="138938" y="1505420"/>
                </a:lnTo>
                <a:lnTo>
                  <a:pt x="169417" y="1464387"/>
                </a:lnTo>
                <a:lnTo>
                  <a:pt x="200025" y="1423467"/>
                </a:lnTo>
                <a:lnTo>
                  <a:pt x="230886" y="1382662"/>
                </a:lnTo>
                <a:lnTo>
                  <a:pt x="261874" y="1341971"/>
                </a:lnTo>
                <a:lnTo>
                  <a:pt x="292989" y="1301408"/>
                </a:lnTo>
                <a:lnTo>
                  <a:pt x="324230" y="1260971"/>
                </a:lnTo>
                <a:lnTo>
                  <a:pt x="355727" y="1220661"/>
                </a:lnTo>
                <a:lnTo>
                  <a:pt x="387350" y="1180478"/>
                </a:lnTo>
                <a:lnTo>
                  <a:pt x="419227" y="1140422"/>
                </a:lnTo>
                <a:lnTo>
                  <a:pt x="451230" y="1100506"/>
                </a:lnTo>
                <a:lnTo>
                  <a:pt x="483489" y="1060743"/>
                </a:lnTo>
                <a:lnTo>
                  <a:pt x="516001" y="1021106"/>
                </a:lnTo>
                <a:lnTo>
                  <a:pt x="548513" y="981622"/>
                </a:lnTo>
                <a:lnTo>
                  <a:pt x="580643" y="943534"/>
                </a:lnTo>
                <a:lnTo>
                  <a:pt x="612902" y="905638"/>
                </a:lnTo>
                <a:lnTo>
                  <a:pt x="645287" y="867919"/>
                </a:lnTo>
                <a:lnTo>
                  <a:pt x="677926" y="830453"/>
                </a:lnTo>
                <a:lnTo>
                  <a:pt x="710691" y="792988"/>
                </a:lnTo>
                <a:lnTo>
                  <a:pt x="776478" y="718439"/>
                </a:lnTo>
                <a:lnTo>
                  <a:pt x="908557" y="569469"/>
                </a:lnTo>
                <a:lnTo>
                  <a:pt x="941451" y="532003"/>
                </a:lnTo>
                <a:lnTo>
                  <a:pt x="974343" y="494538"/>
                </a:lnTo>
                <a:lnTo>
                  <a:pt x="1006982" y="456819"/>
                </a:lnTo>
                <a:lnTo>
                  <a:pt x="1039622" y="418974"/>
                </a:lnTo>
                <a:lnTo>
                  <a:pt x="1102994" y="344552"/>
                </a:lnTo>
                <a:lnTo>
                  <a:pt x="1133475" y="307721"/>
                </a:lnTo>
                <a:lnTo>
                  <a:pt x="1163447" y="270511"/>
                </a:lnTo>
                <a:lnTo>
                  <a:pt x="1192911" y="232665"/>
                </a:lnTo>
                <a:lnTo>
                  <a:pt x="1221740" y="194437"/>
                </a:lnTo>
                <a:lnTo>
                  <a:pt x="1250061" y="155830"/>
                </a:lnTo>
                <a:lnTo>
                  <a:pt x="1277874" y="116713"/>
                </a:lnTo>
                <a:lnTo>
                  <a:pt x="1305052" y="77090"/>
                </a:lnTo>
                <a:lnTo>
                  <a:pt x="1331594" y="36958"/>
                </a:lnTo>
                <a:lnTo>
                  <a:pt x="1334515" y="17399"/>
                </a:lnTo>
                <a:close/>
                <a:moveTo>
                  <a:pt x="-6128639" y="2189988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54" name="Freeform 354"/>
          <p:cNvSpPr/>
          <p:nvPr/>
        </p:nvSpPr>
        <p:spPr>
          <a:xfrm>
            <a:off x="8861552" y="2499868"/>
            <a:ext cx="1248537" cy="1642237"/>
          </a:xfrm>
          <a:custGeom>
            <a:avLst/>
            <a:gdLst/>
            <a:ahLst/>
            <a:cxnLst/>
            <a:rect l="0" t="0" r="0" b="0"/>
            <a:pathLst>
              <a:path w="1248537" h="1642237">
                <a:moveTo>
                  <a:pt x="1248537" y="17527"/>
                </a:moveTo>
                <a:lnTo>
                  <a:pt x="1236979" y="3684"/>
                </a:lnTo>
                <a:lnTo>
                  <a:pt x="1218565" y="0"/>
                </a:lnTo>
                <a:lnTo>
                  <a:pt x="1202054" y="11557"/>
                </a:lnTo>
                <a:lnTo>
                  <a:pt x="1144651" y="95759"/>
                </a:lnTo>
                <a:lnTo>
                  <a:pt x="1086612" y="179579"/>
                </a:lnTo>
                <a:lnTo>
                  <a:pt x="1028318" y="263017"/>
                </a:lnTo>
                <a:lnTo>
                  <a:pt x="969517" y="346203"/>
                </a:lnTo>
                <a:lnTo>
                  <a:pt x="910336" y="429134"/>
                </a:lnTo>
                <a:lnTo>
                  <a:pt x="850645" y="511684"/>
                </a:lnTo>
                <a:lnTo>
                  <a:pt x="790575" y="594106"/>
                </a:lnTo>
                <a:lnTo>
                  <a:pt x="730123" y="676022"/>
                </a:lnTo>
                <a:lnTo>
                  <a:pt x="669290" y="757810"/>
                </a:lnTo>
                <a:lnTo>
                  <a:pt x="607949" y="839090"/>
                </a:lnTo>
                <a:lnTo>
                  <a:pt x="546354" y="920242"/>
                </a:lnTo>
                <a:lnTo>
                  <a:pt x="484251" y="1001015"/>
                </a:lnTo>
                <a:lnTo>
                  <a:pt x="421766" y="1081532"/>
                </a:lnTo>
                <a:lnTo>
                  <a:pt x="358902" y="1161797"/>
                </a:lnTo>
                <a:lnTo>
                  <a:pt x="295655" y="1241680"/>
                </a:lnTo>
                <a:lnTo>
                  <a:pt x="232029" y="1321181"/>
                </a:lnTo>
                <a:lnTo>
                  <a:pt x="168020" y="1400556"/>
                </a:lnTo>
                <a:lnTo>
                  <a:pt x="103631" y="1479550"/>
                </a:lnTo>
                <a:lnTo>
                  <a:pt x="38862" y="1558163"/>
                </a:lnTo>
                <a:lnTo>
                  <a:pt x="6350" y="1597406"/>
                </a:lnTo>
                <a:lnTo>
                  <a:pt x="0" y="1617346"/>
                </a:lnTo>
                <a:lnTo>
                  <a:pt x="8381" y="1634618"/>
                </a:lnTo>
                <a:lnTo>
                  <a:pt x="24891" y="1642237"/>
                </a:lnTo>
                <a:lnTo>
                  <a:pt x="42544" y="1633475"/>
                </a:lnTo>
                <a:lnTo>
                  <a:pt x="107823" y="1554607"/>
                </a:lnTo>
                <a:lnTo>
                  <a:pt x="172719" y="1475359"/>
                </a:lnTo>
                <a:lnTo>
                  <a:pt x="237236" y="1395857"/>
                </a:lnTo>
                <a:lnTo>
                  <a:pt x="301370" y="1315975"/>
                </a:lnTo>
                <a:lnTo>
                  <a:pt x="365125" y="1235837"/>
                </a:lnTo>
                <a:lnTo>
                  <a:pt x="428498" y="1155319"/>
                </a:lnTo>
                <a:lnTo>
                  <a:pt x="491490" y="1074421"/>
                </a:lnTo>
                <a:lnTo>
                  <a:pt x="554101" y="993267"/>
                </a:lnTo>
                <a:lnTo>
                  <a:pt x="616330" y="911734"/>
                </a:lnTo>
                <a:lnTo>
                  <a:pt x="678179" y="829946"/>
                </a:lnTo>
                <a:lnTo>
                  <a:pt x="739520" y="747777"/>
                </a:lnTo>
                <a:lnTo>
                  <a:pt x="800480" y="665354"/>
                </a:lnTo>
                <a:lnTo>
                  <a:pt x="861059" y="582549"/>
                </a:lnTo>
                <a:lnTo>
                  <a:pt x="921257" y="499492"/>
                </a:lnTo>
                <a:lnTo>
                  <a:pt x="981075" y="416053"/>
                </a:lnTo>
                <a:lnTo>
                  <a:pt x="1040383" y="332360"/>
                </a:lnTo>
                <a:lnTo>
                  <a:pt x="1099312" y="248412"/>
                </a:lnTo>
                <a:lnTo>
                  <a:pt x="1157731" y="164085"/>
                </a:lnTo>
                <a:lnTo>
                  <a:pt x="1215770" y="79503"/>
                </a:lnTo>
                <a:lnTo>
                  <a:pt x="1244727" y="37085"/>
                </a:lnTo>
                <a:lnTo>
                  <a:pt x="1248537" y="17527"/>
                </a:lnTo>
                <a:close/>
                <a:moveTo>
                  <a:pt x="-4520947" y="4358132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55" name="Freeform 355"/>
          <p:cNvSpPr/>
          <p:nvPr/>
        </p:nvSpPr>
        <p:spPr>
          <a:xfrm>
            <a:off x="9870058" y="3097149"/>
            <a:ext cx="333757" cy="310007"/>
          </a:xfrm>
          <a:custGeom>
            <a:avLst/>
            <a:gdLst/>
            <a:ahLst/>
            <a:cxnLst/>
            <a:rect l="0" t="0" r="0" b="0"/>
            <a:pathLst>
              <a:path w="333757" h="310007">
                <a:moveTo>
                  <a:pt x="333757" y="279909"/>
                </a:moveTo>
                <a:lnTo>
                  <a:pt x="323470" y="261367"/>
                </a:lnTo>
                <a:lnTo>
                  <a:pt x="280924" y="228092"/>
                </a:lnTo>
                <a:lnTo>
                  <a:pt x="239269" y="193803"/>
                </a:lnTo>
                <a:lnTo>
                  <a:pt x="198374" y="158623"/>
                </a:lnTo>
                <a:lnTo>
                  <a:pt x="158243" y="122429"/>
                </a:lnTo>
                <a:lnTo>
                  <a:pt x="118873" y="85344"/>
                </a:lnTo>
                <a:lnTo>
                  <a:pt x="80392" y="47498"/>
                </a:lnTo>
                <a:lnTo>
                  <a:pt x="42546" y="8763"/>
                </a:lnTo>
                <a:lnTo>
                  <a:pt x="24893" y="0"/>
                </a:lnTo>
                <a:lnTo>
                  <a:pt x="8510" y="7621"/>
                </a:lnTo>
                <a:lnTo>
                  <a:pt x="0" y="24892"/>
                </a:lnTo>
                <a:lnTo>
                  <a:pt x="6350" y="44831"/>
                </a:lnTo>
                <a:lnTo>
                  <a:pt x="40895" y="79630"/>
                </a:lnTo>
                <a:lnTo>
                  <a:pt x="75820" y="113666"/>
                </a:lnTo>
                <a:lnTo>
                  <a:pt x="111252" y="147193"/>
                </a:lnTo>
                <a:lnTo>
                  <a:pt x="147321" y="180213"/>
                </a:lnTo>
                <a:lnTo>
                  <a:pt x="183897" y="212472"/>
                </a:lnTo>
                <a:lnTo>
                  <a:pt x="221235" y="244222"/>
                </a:lnTo>
                <a:lnTo>
                  <a:pt x="259208" y="275336"/>
                </a:lnTo>
                <a:lnTo>
                  <a:pt x="297815" y="305943"/>
                </a:lnTo>
                <a:lnTo>
                  <a:pt x="316231" y="310007"/>
                </a:lnTo>
                <a:lnTo>
                  <a:pt x="329820" y="298705"/>
                </a:lnTo>
                <a:lnTo>
                  <a:pt x="333757" y="279909"/>
                </a:lnTo>
                <a:close/>
                <a:moveTo>
                  <a:pt x="-6389116" y="3760851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56" name="Freeform 356"/>
          <p:cNvSpPr/>
          <p:nvPr/>
        </p:nvSpPr>
        <p:spPr>
          <a:xfrm>
            <a:off x="10433939" y="2409825"/>
            <a:ext cx="390270" cy="295656"/>
          </a:xfrm>
          <a:custGeom>
            <a:avLst/>
            <a:gdLst/>
            <a:ahLst/>
            <a:cxnLst/>
            <a:rect l="0" t="0" r="0" b="0"/>
            <a:pathLst>
              <a:path w="390270" h="295656">
                <a:moveTo>
                  <a:pt x="390270" y="265558"/>
                </a:moveTo>
                <a:lnTo>
                  <a:pt x="378714" y="248159"/>
                </a:lnTo>
                <a:lnTo>
                  <a:pt x="333629" y="219710"/>
                </a:lnTo>
                <a:lnTo>
                  <a:pt x="242824" y="163958"/>
                </a:lnTo>
                <a:lnTo>
                  <a:pt x="197866" y="135636"/>
                </a:lnTo>
                <a:lnTo>
                  <a:pt x="176783" y="121540"/>
                </a:lnTo>
                <a:lnTo>
                  <a:pt x="133857" y="94361"/>
                </a:lnTo>
                <a:lnTo>
                  <a:pt x="93471" y="67818"/>
                </a:lnTo>
                <a:lnTo>
                  <a:pt x="75311" y="54103"/>
                </a:lnTo>
                <a:lnTo>
                  <a:pt x="59817" y="37720"/>
                </a:lnTo>
                <a:lnTo>
                  <a:pt x="48894" y="16765"/>
                </a:lnTo>
                <a:lnTo>
                  <a:pt x="36194" y="1143"/>
                </a:lnTo>
                <a:lnTo>
                  <a:pt x="17271" y="0"/>
                </a:lnTo>
                <a:lnTo>
                  <a:pt x="1904" y="10415"/>
                </a:lnTo>
                <a:lnTo>
                  <a:pt x="0" y="29465"/>
                </a:lnTo>
                <a:lnTo>
                  <a:pt x="21208" y="70231"/>
                </a:lnTo>
                <a:lnTo>
                  <a:pt x="52958" y="102235"/>
                </a:lnTo>
                <a:lnTo>
                  <a:pt x="90551" y="128524"/>
                </a:lnTo>
                <a:lnTo>
                  <a:pt x="129667" y="152528"/>
                </a:lnTo>
                <a:lnTo>
                  <a:pt x="353187" y="292735"/>
                </a:lnTo>
                <a:lnTo>
                  <a:pt x="372744" y="295656"/>
                </a:lnTo>
                <a:lnTo>
                  <a:pt x="386715" y="283972"/>
                </a:lnTo>
                <a:lnTo>
                  <a:pt x="390270" y="265558"/>
                </a:lnTo>
                <a:close/>
                <a:moveTo>
                  <a:pt x="-6251322" y="4448175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57" name="Freeform 357"/>
          <p:cNvSpPr/>
          <p:nvPr/>
        </p:nvSpPr>
        <p:spPr>
          <a:xfrm>
            <a:off x="9885426" y="2546604"/>
            <a:ext cx="1334389" cy="1640714"/>
          </a:xfrm>
          <a:custGeom>
            <a:avLst/>
            <a:gdLst/>
            <a:ahLst/>
            <a:cxnLst/>
            <a:rect l="0" t="0" r="0" b="0"/>
            <a:pathLst>
              <a:path w="1334389" h="1640714">
                <a:moveTo>
                  <a:pt x="1334389" y="17526"/>
                </a:moveTo>
                <a:lnTo>
                  <a:pt x="1322705" y="3556"/>
                </a:lnTo>
                <a:lnTo>
                  <a:pt x="1304290" y="0"/>
                </a:lnTo>
                <a:lnTo>
                  <a:pt x="1286764" y="11557"/>
                </a:lnTo>
                <a:lnTo>
                  <a:pt x="1258189" y="55373"/>
                </a:lnTo>
                <a:lnTo>
                  <a:pt x="1228725" y="98425"/>
                </a:lnTo>
                <a:lnTo>
                  <a:pt x="1198244" y="140717"/>
                </a:lnTo>
                <a:lnTo>
                  <a:pt x="1167130" y="182500"/>
                </a:lnTo>
                <a:lnTo>
                  <a:pt x="1135253" y="223648"/>
                </a:lnTo>
                <a:lnTo>
                  <a:pt x="1102741" y="264414"/>
                </a:lnTo>
                <a:lnTo>
                  <a:pt x="1069720" y="304674"/>
                </a:lnTo>
                <a:lnTo>
                  <a:pt x="1036192" y="344551"/>
                </a:lnTo>
                <a:lnTo>
                  <a:pt x="1002283" y="384175"/>
                </a:lnTo>
                <a:lnTo>
                  <a:pt x="968120" y="423545"/>
                </a:lnTo>
                <a:lnTo>
                  <a:pt x="933704" y="462788"/>
                </a:lnTo>
                <a:lnTo>
                  <a:pt x="795274" y="618744"/>
                </a:lnTo>
                <a:lnTo>
                  <a:pt x="761492" y="656591"/>
                </a:lnTo>
                <a:lnTo>
                  <a:pt x="727709" y="694691"/>
                </a:lnTo>
                <a:lnTo>
                  <a:pt x="694181" y="732791"/>
                </a:lnTo>
                <a:lnTo>
                  <a:pt x="660907" y="771144"/>
                </a:lnTo>
                <a:lnTo>
                  <a:pt x="627633" y="809625"/>
                </a:lnTo>
                <a:lnTo>
                  <a:pt x="594614" y="848361"/>
                </a:lnTo>
                <a:lnTo>
                  <a:pt x="561720" y="887095"/>
                </a:lnTo>
                <a:lnTo>
                  <a:pt x="529081" y="926085"/>
                </a:lnTo>
                <a:lnTo>
                  <a:pt x="496569" y="965074"/>
                </a:lnTo>
                <a:lnTo>
                  <a:pt x="464184" y="1004317"/>
                </a:lnTo>
                <a:lnTo>
                  <a:pt x="432054" y="1043687"/>
                </a:lnTo>
                <a:lnTo>
                  <a:pt x="400050" y="1083183"/>
                </a:lnTo>
                <a:lnTo>
                  <a:pt x="368300" y="1122935"/>
                </a:lnTo>
                <a:lnTo>
                  <a:pt x="336677" y="1162813"/>
                </a:lnTo>
                <a:lnTo>
                  <a:pt x="305180" y="1202691"/>
                </a:lnTo>
                <a:lnTo>
                  <a:pt x="274066" y="1242823"/>
                </a:lnTo>
                <a:lnTo>
                  <a:pt x="213359" y="1322198"/>
                </a:lnTo>
                <a:lnTo>
                  <a:pt x="183133" y="1361948"/>
                </a:lnTo>
                <a:lnTo>
                  <a:pt x="153034" y="1401699"/>
                </a:lnTo>
                <a:lnTo>
                  <a:pt x="123063" y="1441704"/>
                </a:lnTo>
                <a:lnTo>
                  <a:pt x="93217" y="1481836"/>
                </a:lnTo>
                <a:lnTo>
                  <a:pt x="63372" y="1522223"/>
                </a:lnTo>
                <a:lnTo>
                  <a:pt x="33528" y="1562863"/>
                </a:lnTo>
                <a:lnTo>
                  <a:pt x="3809" y="1603757"/>
                </a:lnTo>
                <a:lnTo>
                  <a:pt x="0" y="1623314"/>
                </a:lnTo>
                <a:lnTo>
                  <a:pt x="11683" y="1637157"/>
                </a:lnTo>
                <a:lnTo>
                  <a:pt x="30733" y="1640714"/>
                </a:lnTo>
                <a:lnTo>
                  <a:pt x="48387" y="1629283"/>
                </a:lnTo>
                <a:lnTo>
                  <a:pt x="78485" y="1587882"/>
                </a:lnTo>
                <a:lnTo>
                  <a:pt x="108584" y="1546607"/>
                </a:lnTo>
                <a:lnTo>
                  <a:pt x="138938" y="1505458"/>
                </a:lnTo>
                <a:lnTo>
                  <a:pt x="169417" y="1464438"/>
                </a:lnTo>
                <a:lnTo>
                  <a:pt x="200025" y="1423544"/>
                </a:lnTo>
                <a:lnTo>
                  <a:pt x="230758" y="1382776"/>
                </a:lnTo>
                <a:lnTo>
                  <a:pt x="261746" y="1342010"/>
                </a:lnTo>
                <a:lnTo>
                  <a:pt x="292862" y="1301496"/>
                </a:lnTo>
                <a:lnTo>
                  <a:pt x="324104" y="1261111"/>
                </a:lnTo>
                <a:lnTo>
                  <a:pt x="355600" y="1220724"/>
                </a:lnTo>
                <a:lnTo>
                  <a:pt x="387350" y="1180592"/>
                </a:lnTo>
                <a:lnTo>
                  <a:pt x="419227" y="1140461"/>
                </a:lnTo>
                <a:lnTo>
                  <a:pt x="451230" y="1100582"/>
                </a:lnTo>
                <a:lnTo>
                  <a:pt x="483489" y="1060832"/>
                </a:lnTo>
                <a:lnTo>
                  <a:pt x="515874" y="1021207"/>
                </a:lnTo>
                <a:lnTo>
                  <a:pt x="548513" y="981711"/>
                </a:lnTo>
                <a:lnTo>
                  <a:pt x="580517" y="943611"/>
                </a:lnTo>
                <a:lnTo>
                  <a:pt x="612775" y="905764"/>
                </a:lnTo>
                <a:lnTo>
                  <a:pt x="645159" y="868045"/>
                </a:lnTo>
                <a:lnTo>
                  <a:pt x="677799" y="830581"/>
                </a:lnTo>
                <a:lnTo>
                  <a:pt x="710565" y="793116"/>
                </a:lnTo>
                <a:lnTo>
                  <a:pt x="776351" y="718567"/>
                </a:lnTo>
                <a:lnTo>
                  <a:pt x="908430" y="569595"/>
                </a:lnTo>
                <a:lnTo>
                  <a:pt x="941324" y="532131"/>
                </a:lnTo>
                <a:lnTo>
                  <a:pt x="974217" y="494666"/>
                </a:lnTo>
                <a:lnTo>
                  <a:pt x="1006982" y="456946"/>
                </a:lnTo>
                <a:lnTo>
                  <a:pt x="1039494" y="418974"/>
                </a:lnTo>
                <a:lnTo>
                  <a:pt x="1102867" y="344551"/>
                </a:lnTo>
                <a:lnTo>
                  <a:pt x="1133347" y="307849"/>
                </a:lnTo>
                <a:lnTo>
                  <a:pt x="1163319" y="270511"/>
                </a:lnTo>
                <a:lnTo>
                  <a:pt x="1192783" y="232792"/>
                </a:lnTo>
                <a:lnTo>
                  <a:pt x="1221740" y="194564"/>
                </a:lnTo>
                <a:lnTo>
                  <a:pt x="1250060" y="155956"/>
                </a:lnTo>
                <a:lnTo>
                  <a:pt x="1277746" y="116713"/>
                </a:lnTo>
                <a:lnTo>
                  <a:pt x="1304925" y="77089"/>
                </a:lnTo>
                <a:lnTo>
                  <a:pt x="1331467" y="36957"/>
                </a:lnTo>
                <a:lnTo>
                  <a:pt x="1334389" y="17526"/>
                </a:lnTo>
                <a:close/>
                <a:moveTo>
                  <a:pt x="-5591556" y="4311396"/>
                </a:moveTo>
              </a:path>
            </a:pathLst>
          </a:custGeom>
          <a:solidFill>
            <a:srgbClr val="EBBE20">
              <a:alpha val="10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58" name="Freeform 358"/>
          <p:cNvSpPr/>
          <p:nvPr/>
        </p:nvSpPr>
        <p:spPr>
          <a:xfrm>
            <a:off x="7572375" y="2705100"/>
            <a:ext cx="3171570" cy="3162300"/>
          </a:xfrm>
          <a:custGeom>
            <a:avLst/>
            <a:gdLst/>
            <a:ahLst/>
            <a:cxnLst/>
            <a:rect l="0" t="0" r="0" b="0"/>
            <a:pathLst>
              <a:path w="3171570" h="3162300">
                <a:moveTo>
                  <a:pt x="1585721" y="0"/>
                </a:moveTo>
                <a:lnTo>
                  <a:pt x="1537334" y="762"/>
                </a:lnTo>
                <a:lnTo>
                  <a:pt x="1489202" y="2922"/>
                </a:lnTo>
                <a:lnTo>
                  <a:pt x="1441450" y="6478"/>
                </a:lnTo>
                <a:lnTo>
                  <a:pt x="1394079" y="11430"/>
                </a:lnTo>
                <a:lnTo>
                  <a:pt x="1347216" y="17780"/>
                </a:lnTo>
                <a:lnTo>
                  <a:pt x="1300733" y="25528"/>
                </a:lnTo>
                <a:lnTo>
                  <a:pt x="1254759" y="34545"/>
                </a:lnTo>
                <a:lnTo>
                  <a:pt x="1209293" y="44831"/>
                </a:lnTo>
                <a:lnTo>
                  <a:pt x="1164208" y="56516"/>
                </a:lnTo>
                <a:lnTo>
                  <a:pt x="1119758" y="69342"/>
                </a:lnTo>
                <a:lnTo>
                  <a:pt x="1075817" y="83566"/>
                </a:lnTo>
                <a:lnTo>
                  <a:pt x="1032509" y="98934"/>
                </a:lnTo>
                <a:lnTo>
                  <a:pt x="989710" y="115443"/>
                </a:lnTo>
                <a:lnTo>
                  <a:pt x="947546" y="133223"/>
                </a:lnTo>
                <a:lnTo>
                  <a:pt x="906018" y="152273"/>
                </a:lnTo>
                <a:lnTo>
                  <a:pt x="865123" y="172340"/>
                </a:lnTo>
                <a:lnTo>
                  <a:pt x="824992" y="193548"/>
                </a:lnTo>
                <a:lnTo>
                  <a:pt x="785368" y="215900"/>
                </a:lnTo>
                <a:lnTo>
                  <a:pt x="746632" y="239268"/>
                </a:lnTo>
                <a:lnTo>
                  <a:pt x="708532" y="263779"/>
                </a:lnTo>
                <a:lnTo>
                  <a:pt x="671321" y="289306"/>
                </a:lnTo>
                <a:lnTo>
                  <a:pt x="634745" y="315849"/>
                </a:lnTo>
                <a:lnTo>
                  <a:pt x="599058" y="343281"/>
                </a:lnTo>
                <a:lnTo>
                  <a:pt x="564133" y="371856"/>
                </a:lnTo>
                <a:lnTo>
                  <a:pt x="529970" y="401321"/>
                </a:lnTo>
                <a:lnTo>
                  <a:pt x="496823" y="431800"/>
                </a:lnTo>
                <a:lnTo>
                  <a:pt x="464439" y="463042"/>
                </a:lnTo>
                <a:lnTo>
                  <a:pt x="433069" y="495300"/>
                </a:lnTo>
                <a:lnTo>
                  <a:pt x="402590" y="528447"/>
                </a:lnTo>
                <a:lnTo>
                  <a:pt x="372998" y="562356"/>
                </a:lnTo>
                <a:lnTo>
                  <a:pt x="344296" y="597281"/>
                </a:lnTo>
                <a:lnTo>
                  <a:pt x="316738" y="632841"/>
                </a:lnTo>
                <a:lnTo>
                  <a:pt x="290068" y="669291"/>
                </a:lnTo>
                <a:lnTo>
                  <a:pt x="264541" y="706502"/>
                </a:lnTo>
                <a:lnTo>
                  <a:pt x="240030" y="744347"/>
                </a:lnTo>
                <a:lnTo>
                  <a:pt x="216534" y="783083"/>
                </a:lnTo>
                <a:lnTo>
                  <a:pt x="194182" y="822453"/>
                </a:lnTo>
                <a:lnTo>
                  <a:pt x="172846" y="862585"/>
                </a:lnTo>
                <a:lnTo>
                  <a:pt x="152654" y="903352"/>
                </a:lnTo>
                <a:lnTo>
                  <a:pt x="133731" y="944753"/>
                </a:lnTo>
                <a:lnTo>
                  <a:pt x="115823" y="986790"/>
                </a:lnTo>
                <a:lnTo>
                  <a:pt x="99186" y="1029462"/>
                </a:lnTo>
                <a:lnTo>
                  <a:pt x="83819" y="1072643"/>
                </a:lnTo>
                <a:lnTo>
                  <a:pt x="69595" y="1116458"/>
                </a:lnTo>
                <a:lnTo>
                  <a:pt x="56642" y="1160780"/>
                </a:lnTo>
                <a:lnTo>
                  <a:pt x="44957" y="1205611"/>
                </a:lnTo>
                <a:lnTo>
                  <a:pt x="34543" y="1251077"/>
                </a:lnTo>
                <a:lnTo>
                  <a:pt x="25527" y="1296924"/>
                </a:lnTo>
                <a:lnTo>
                  <a:pt x="17780" y="1343280"/>
                </a:lnTo>
                <a:lnTo>
                  <a:pt x="11430" y="1390015"/>
                </a:lnTo>
                <a:lnTo>
                  <a:pt x="6477" y="1437259"/>
                </a:lnTo>
                <a:lnTo>
                  <a:pt x="2920" y="1484884"/>
                </a:lnTo>
                <a:lnTo>
                  <a:pt x="761" y="1532764"/>
                </a:lnTo>
                <a:lnTo>
                  <a:pt x="0" y="1581150"/>
                </a:lnTo>
                <a:lnTo>
                  <a:pt x="761" y="1629537"/>
                </a:lnTo>
                <a:lnTo>
                  <a:pt x="2920" y="1677417"/>
                </a:lnTo>
                <a:lnTo>
                  <a:pt x="6477" y="1725042"/>
                </a:lnTo>
                <a:lnTo>
                  <a:pt x="11430" y="1772286"/>
                </a:lnTo>
                <a:lnTo>
                  <a:pt x="17780" y="1819021"/>
                </a:lnTo>
                <a:lnTo>
                  <a:pt x="25527" y="1865377"/>
                </a:lnTo>
                <a:lnTo>
                  <a:pt x="34543" y="1911224"/>
                </a:lnTo>
                <a:lnTo>
                  <a:pt x="44957" y="1956690"/>
                </a:lnTo>
                <a:lnTo>
                  <a:pt x="56642" y="2001521"/>
                </a:lnTo>
                <a:lnTo>
                  <a:pt x="69595" y="2045843"/>
                </a:lnTo>
                <a:lnTo>
                  <a:pt x="83819" y="2089658"/>
                </a:lnTo>
                <a:lnTo>
                  <a:pt x="99186" y="2132839"/>
                </a:lnTo>
                <a:lnTo>
                  <a:pt x="115823" y="2175511"/>
                </a:lnTo>
                <a:lnTo>
                  <a:pt x="133731" y="2217548"/>
                </a:lnTo>
                <a:lnTo>
                  <a:pt x="152654" y="2258949"/>
                </a:lnTo>
                <a:lnTo>
                  <a:pt x="172846" y="2299717"/>
                </a:lnTo>
                <a:lnTo>
                  <a:pt x="194182" y="2339849"/>
                </a:lnTo>
                <a:lnTo>
                  <a:pt x="216534" y="2379218"/>
                </a:lnTo>
                <a:lnTo>
                  <a:pt x="240030" y="2417953"/>
                </a:lnTo>
                <a:lnTo>
                  <a:pt x="264541" y="2455799"/>
                </a:lnTo>
                <a:lnTo>
                  <a:pt x="290068" y="2493011"/>
                </a:lnTo>
                <a:lnTo>
                  <a:pt x="316738" y="2529459"/>
                </a:lnTo>
                <a:lnTo>
                  <a:pt x="344296" y="2565020"/>
                </a:lnTo>
                <a:lnTo>
                  <a:pt x="372998" y="2599945"/>
                </a:lnTo>
                <a:lnTo>
                  <a:pt x="402590" y="2633853"/>
                </a:lnTo>
                <a:lnTo>
                  <a:pt x="433069" y="2667000"/>
                </a:lnTo>
                <a:lnTo>
                  <a:pt x="464439" y="2699259"/>
                </a:lnTo>
                <a:lnTo>
                  <a:pt x="496823" y="2730500"/>
                </a:lnTo>
                <a:lnTo>
                  <a:pt x="529970" y="2760981"/>
                </a:lnTo>
                <a:lnTo>
                  <a:pt x="564133" y="2790445"/>
                </a:lnTo>
                <a:lnTo>
                  <a:pt x="599058" y="2819020"/>
                </a:lnTo>
                <a:lnTo>
                  <a:pt x="634745" y="2846451"/>
                </a:lnTo>
                <a:lnTo>
                  <a:pt x="671321" y="2872995"/>
                </a:lnTo>
                <a:lnTo>
                  <a:pt x="708532" y="2898560"/>
                </a:lnTo>
                <a:lnTo>
                  <a:pt x="746632" y="2923033"/>
                </a:lnTo>
                <a:lnTo>
                  <a:pt x="785368" y="2946439"/>
                </a:lnTo>
                <a:lnTo>
                  <a:pt x="824992" y="2968765"/>
                </a:lnTo>
                <a:lnTo>
                  <a:pt x="865123" y="2989987"/>
                </a:lnTo>
                <a:lnTo>
                  <a:pt x="906018" y="3010066"/>
                </a:lnTo>
                <a:lnTo>
                  <a:pt x="947546" y="3029014"/>
                </a:lnTo>
                <a:lnTo>
                  <a:pt x="989710" y="3046794"/>
                </a:lnTo>
                <a:lnTo>
                  <a:pt x="1032509" y="3063380"/>
                </a:lnTo>
                <a:lnTo>
                  <a:pt x="1075817" y="3078773"/>
                </a:lnTo>
                <a:lnTo>
                  <a:pt x="1119758" y="3092920"/>
                </a:lnTo>
                <a:lnTo>
                  <a:pt x="1164208" y="3105824"/>
                </a:lnTo>
                <a:lnTo>
                  <a:pt x="1209293" y="3117457"/>
                </a:lnTo>
                <a:lnTo>
                  <a:pt x="1254759" y="3127795"/>
                </a:lnTo>
                <a:lnTo>
                  <a:pt x="1300733" y="3136824"/>
                </a:lnTo>
                <a:lnTo>
                  <a:pt x="1347216" y="3144520"/>
                </a:lnTo>
                <a:lnTo>
                  <a:pt x="1394079" y="3150870"/>
                </a:lnTo>
                <a:lnTo>
                  <a:pt x="1441450" y="3155836"/>
                </a:lnTo>
                <a:lnTo>
                  <a:pt x="1489202" y="3159418"/>
                </a:lnTo>
                <a:lnTo>
                  <a:pt x="1537334" y="3161577"/>
                </a:lnTo>
                <a:lnTo>
                  <a:pt x="1585721" y="3162300"/>
                </a:lnTo>
                <a:lnTo>
                  <a:pt x="1634235" y="3161577"/>
                </a:lnTo>
                <a:lnTo>
                  <a:pt x="1682368" y="3159418"/>
                </a:lnTo>
                <a:lnTo>
                  <a:pt x="1730120" y="3155836"/>
                </a:lnTo>
                <a:lnTo>
                  <a:pt x="1777492" y="3150870"/>
                </a:lnTo>
                <a:lnTo>
                  <a:pt x="1824355" y="3144520"/>
                </a:lnTo>
                <a:lnTo>
                  <a:pt x="1870836" y="3136824"/>
                </a:lnTo>
                <a:lnTo>
                  <a:pt x="1916810" y="3127795"/>
                </a:lnTo>
                <a:lnTo>
                  <a:pt x="1962277" y="3117457"/>
                </a:lnTo>
                <a:lnTo>
                  <a:pt x="2007361" y="3105824"/>
                </a:lnTo>
                <a:lnTo>
                  <a:pt x="2051811" y="3092920"/>
                </a:lnTo>
                <a:lnTo>
                  <a:pt x="2095754" y="3078773"/>
                </a:lnTo>
                <a:lnTo>
                  <a:pt x="2139060" y="3063380"/>
                </a:lnTo>
                <a:lnTo>
                  <a:pt x="2181859" y="3046794"/>
                </a:lnTo>
                <a:lnTo>
                  <a:pt x="2224023" y="3029014"/>
                </a:lnTo>
                <a:lnTo>
                  <a:pt x="2265553" y="3010066"/>
                </a:lnTo>
                <a:lnTo>
                  <a:pt x="2306446" y="2989987"/>
                </a:lnTo>
                <a:lnTo>
                  <a:pt x="2346579" y="2968765"/>
                </a:lnTo>
                <a:lnTo>
                  <a:pt x="2386203" y="2946439"/>
                </a:lnTo>
                <a:lnTo>
                  <a:pt x="2424938" y="2923033"/>
                </a:lnTo>
                <a:lnTo>
                  <a:pt x="2463038" y="2898560"/>
                </a:lnTo>
                <a:lnTo>
                  <a:pt x="2500248" y="2872995"/>
                </a:lnTo>
                <a:lnTo>
                  <a:pt x="2536825" y="2846451"/>
                </a:lnTo>
                <a:lnTo>
                  <a:pt x="2572511" y="2819020"/>
                </a:lnTo>
                <a:lnTo>
                  <a:pt x="2607436" y="2790445"/>
                </a:lnTo>
                <a:lnTo>
                  <a:pt x="2641600" y="2760981"/>
                </a:lnTo>
                <a:lnTo>
                  <a:pt x="2674746" y="2730500"/>
                </a:lnTo>
                <a:lnTo>
                  <a:pt x="2707131" y="2699259"/>
                </a:lnTo>
                <a:lnTo>
                  <a:pt x="2738501" y="2667000"/>
                </a:lnTo>
                <a:lnTo>
                  <a:pt x="2768981" y="2633853"/>
                </a:lnTo>
                <a:lnTo>
                  <a:pt x="2798571" y="2599945"/>
                </a:lnTo>
                <a:lnTo>
                  <a:pt x="2827146" y="2565020"/>
                </a:lnTo>
                <a:lnTo>
                  <a:pt x="2854832" y="2529459"/>
                </a:lnTo>
                <a:lnTo>
                  <a:pt x="2881503" y="2493011"/>
                </a:lnTo>
                <a:lnTo>
                  <a:pt x="2907030" y="2455799"/>
                </a:lnTo>
                <a:lnTo>
                  <a:pt x="2931541" y="2417953"/>
                </a:lnTo>
                <a:lnTo>
                  <a:pt x="2955035" y="2379218"/>
                </a:lnTo>
                <a:lnTo>
                  <a:pt x="2977388" y="2339849"/>
                </a:lnTo>
                <a:lnTo>
                  <a:pt x="2998723" y="2299717"/>
                </a:lnTo>
                <a:lnTo>
                  <a:pt x="3018917" y="2258949"/>
                </a:lnTo>
                <a:lnTo>
                  <a:pt x="3037840" y="2217548"/>
                </a:lnTo>
                <a:lnTo>
                  <a:pt x="3055746" y="2175511"/>
                </a:lnTo>
                <a:lnTo>
                  <a:pt x="3072383" y="2132839"/>
                </a:lnTo>
                <a:lnTo>
                  <a:pt x="3087751" y="2089658"/>
                </a:lnTo>
                <a:lnTo>
                  <a:pt x="3101975" y="2045843"/>
                </a:lnTo>
                <a:lnTo>
                  <a:pt x="3114929" y="2001521"/>
                </a:lnTo>
                <a:lnTo>
                  <a:pt x="3126613" y="1956690"/>
                </a:lnTo>
                <a:lnTo>
                  <a:pt x="3136900" y="1911224"/>
                </a:lnTo>
                <a:lnTo>
                  <a:pt x="3146043" y="1865377"/>
                </a:lnTo>
                <a:lnTo>
                  <a:pt x="3153791" y="1819021"/>
                </a:lnTo>
                <a:lnTo>
                  <a:pt x="3160141" y="1772286"/>
                </a:lnTo>
                <a:lnTo>
                  <a:pt x="3165093" y="1725042"/>
                </a:lnTo>
                <a:lnTo>
                  <a:pt x="3168650" y="1677417"/>
                </a:lnTo>
                <a:lnTo>
                  <a:pt x="3170808" y="1629537"/>
                </a:lnTo>
                <a:lnTo>
                  <a:pt x="3171570" y="1581150"/>
                </a:lnTo>
                <a:lnTo>
                  <a:pt x="3170808" y="1532764"/>
                </a:lnTo>
                <a:lnTo>
                  <a:pt x="3168650" y="1484884"/>
                </a:lnTo>
                <a:lnTo>
                  <a:pt x="3165093" y="1437259"/>
                </a:lnTo>
                <a:lnTo>
                  <a:pt x="3160141" y="1390015"/>
                </a:lnTo>
                <a:lnTo>
                  <a:pt x="3153791" y="1343280"/>
                </a:lnTo>
                <a:lnTo>
                  <a:pt x="3146043" y="1296924"/>
                </a:lnTo>
                <a:lnTo>
                  <a:pt x="3136900" y="1251077"/>
                </a:lnTo>
                <a:lnTo>
                  <a:pt x="3126613" y="1205611"/>
                </a:lnTo>
                <a:lnTo>
                  <a:pt x="3114929" y="1160780"/>
                </a:lnTo>
                <a:lnTo>
                  <a:pt x="3101975" y="1116458"/>
                </a:lnTo>
                <a:lnTo>
                  <a:pt x="3087751" y="1072643"/>
                </a:lnTo>
                <a:lnTo>
                  <a:pt x="3072383" y="1029462"/>
                </a:lnTo>
                <a:lnTo>
                  <a:pt x="3055746" y="986790"/>
                </a:lnTo>
                <a:lnTo>
                  <a:pt x="3037840" y="944753"/>
                </a:lnTo>
                <a:lnTo>
                  <a:pt x="3018917" y="903352"/>
                </a:lnTo>
                <a:lnTo>
                  <a:pt x="2998723" y="862585"/>
                </a:lnTo>
                <a:lnTo>
                  <a:pt x="2977388" y="822453"/>
                </a:lnTo>
                <a:lnTo>
                  <a:pt x="2955035" y="783083"/>
                </a:lnTo>
                <a:lnTo>
                  <a:pt x="2931541" y="744347"/>
                </a:lnTo>
                <a:lnTo>
                  <a:pt x="2907030" y="706502"/>
                </a:lnTo>
                <a:lnTo>
                  <a:pt x="2881503" y="669291"/>
                </a:lnTo>
                <a:lnTo>
                  <a:pt x="2854832" y="632841"/>
                </a:lnTo>
                <a:lnTo>
                  <a:pt x="2827146" y="597281"/>
                </a:lnTo>
                <a:lnTo>
                  <a:pt x="2798571" y="562356"/>
                </a:lnTo>
                <a:lnTo>
                  <a:pt x="2768981" y="528447"/>
                </a:lnTo>
                <a:lnTo>
                  <a:pt x="2738501" y="495300"/>
                </a:lnTo>
                <a:lnTo>
                  <a:pt x="2707131" y="463042"/>
                </a:lnTo>
                <a:lnTo>
                  <a:pt x="2674746" y="431800"/>
                </a:lnTo>
                <a:lnTo>
                  <a:pt x="2641600" y="401321"/>
                </a:lnTo>
                <a:lnTo>
                  <a:pt x="2607436" y="371856"/>
                </a:lnTo>
                <a:lnTo>
                  <a:pt x="2572511" y="343281"/>
                </a:lnTo>
                <a:lnTo>
                  <a:pt x="2536825" y="315849"/>
                </a:lnTo>
                <a:lnTo>
                  <a:pt x="2500248" y="289306"/>
                </a:lnTo>
                <a:lnTo>
                  <a:pt x="2463038" y="263779"/>
                </a:lnTo>
                <a:lnTo>
                  <a:pt x="2424938" y="239268"/>
                </a:lnTo>
                <a:lnTo>
                  <a:pt x="2386203" y="215900"/>
                </a:lnTo>
                <a:lnTo>
                  <a:pt x="2346579" y="193548"/>
                </a:lnTo>
                <a:lnTo>
                  <a:pt x="2306446" y="172340"/>
                </a:lnTo>
                <a:lnTo>
                  <a:pt x="2265553" y="152273"/>
                </a:lnTo>
                <a:lnTo>
                  <a:pt x="2224023" y="133223"/>
                </a:lnTo>
                <a:lnTo>
                  <a:pt x="2181859" y="115443"/>
                </a:lnTo>
                <a:lnTo>
                  <a:pt x="2139060" y="98934"/>
                </a:lnTo>
                <a:lnTo>
                  <a:pt x="2095754" y="83566"/>
                </a:lnTo>
                <a:lnTo>
                  <a:pt x="2051811" y="69342"/>
                </a:lnTo>
                <a:lnTo>
                  <a:pt x="2007361" y="56516"/>
                </a:lnTo>
                <a:lnTo>
                  <a:pt x="1962277" y="44831"/>
                </a:lnTo>
                <a:lnTo>
                  <a:pt x="1916810" y="34545"/>
                </a:lnTo>
                <a:lnTo>
                  <a:pt x="1870836" y="25528"/>
                </a:lnTo>
                <a:lnTo>
                  <a:pt x="1824355" y="17780"/>
                </a:lnTo>
                <a:lnTo>
                  <a:pt x="1777492" y="11430"/>
                </a:lnTo>
                <a:lnTo>
                  <a:pt x="1730120" y="6478"/>
                </a:lnTo>
                <a:lnTo>
                  <a:pt x="1682368" y="2922"/>
                </a:lnTo>
                <a:lnTo>
                  <a:pt x="1634235" y="762"/>
                </a:lnTo>
                <a:lnTo>
                  <a:pt x="1585721" y="0"/>
                </a:lnTo>
                <a:close/>
                <a:moveTo>
                  <a:pt x="-3419475" y="4152900"/>
                </a:moveTo>
              </a:path>
            </a:pathLst>
          </a:custGeom>
          <a:solidFill>
            <a:srgbClr val="7DACE1">
              <a:alpha val="60000"/>
            </a:srgbClr>
          </a:solidFill>
          <a:ln w="10667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359" name="Picture 293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391400" y="2705100"/>
            <a:ext cx="3171825" cy="3162300"/>
          </a:xfrm>
          <a:prstGeom prst="rect">
            <a:avLst/>
          </a:prstGeom>
          <a:noFill/>
        </p:spPr>
      </p:pic>
      <p:sp>
        <p:nvSpPr>
          <p:cNvPr id="360" name="Rectangle 360"/>
          <p:cNvSpPr/>
          <p:nvPr/>
        </p:nvSpPr>
        <p:spPr>
          <a:xfrm>
            <a:off x="11489055" y="6400508"/>
            <a:ext cx="68846" cy="1656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975" b="0" i="0" spc="0" baseline="0" dirty="0">
                <a:solidFill>
                  <a:srgbClr val="7F7F7F"/>
                </a:solidFill>
                <a:latin typeface="Arial"/>
              </a:rPr>
              <a:t>8</a:t>
            </a:r>
          </a:p>
        </p:txBody>
      </p:sp>
      <p:sp>
        <p:nvSpPr>
          <p:cNvPr id="361" name="Rectangle 361"/>
          <p:cNvSpPr/>
          <p:nvPr/>
        </p:nvSpPr>
        <p:spPr>
          <a:xfrm>
            <a:off x="721994" y="505913"/>
            <a:ext cx="4869219" cy="112756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D</a:t>
            </a:r>
            <a:r>
              <a:rPr lang="fr-FR" sz="3604" b="1" i="0" spc="954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3604" b="1" i="0" spc="977" baseline="0" dirty="0">
                <a:solidFill>
                  <a:srgbClr val="FFFFFF"/>
                </a:solidFill>
                <a:latin typeface="Arial"/>
              </a:rPr>
              <a:t>I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nee</a:t>
            </a:r>
            <a:r>
              <a:rPr lang="fr-FR" sz="3604" b="1" i="0" spc="968" baseline="0" dirty="0">
                <a:solidFill>
                  <a:srgbClr val="FFFFFF"/>
                </a:solidFill>
                <a:latin typeface="Arial"/>
              </a:rPr>
              <a:t>d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3604" b="1" i="0" spc="978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pick</a:t>
            </a:r>
          </a:p>
          <a:p>
            <a:pPr marL="0">
              <a:lnSpc>
                <a:spcPts val="4054"/>
              </a:lnSpc>
            </a:pP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on</a:t>
            </a:r>
            <a:r>
              <a:rPr lang="fr-FR" sz="3604" b="1" i="0" spc="948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consultanc</a:t>
            </a:r>
            <a:r>
              <a:rPr lang="fr-FR" sz="3604" b="1" i="0" spc="952" baseline="0" dirty="0">
                <a:solidFill>
                  <a:srgbClr val="FFFFFF"/>
                </a:solidFill>
                <a:latin typeface="Arial"/>
              </a:rPr>
              <a:t>y</a:t>
            </a:r>
            <a:r>
              <a:rPr lang="fr-FR" sz="3604" b="1" i="0" spc="0" baseline="0" dirty="0">
                <a:solidFill>
                  <a:srgbClr val="FFFFFF"/>
                </a:solidFill>
                <a:latin typeface="Arial"/>
              </a:rPr>
              <a:t>firm?</a:t>
            </a:r>
          </a:p>
        </p:txBody>
      </p:sp>
      <p:sp>
        <p:nvSpPr>
          <p:cNvPr id="362" name="Rectangle 362"/>
          <p:cNvSpPr/>
          <p:nvPr/>
        </p:nvSpPr>
        <p:spPr>
          <a:xfrm>
            <a:off x="2249804" y="3824578"/>
            <a:ext cx="1649437" cy="85962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205486"/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Yo</a:t>
            </a:r>
            <a:r>
              <a:rPr lang="fr-FR" sz="1802" b="0" i="0" spc="395" baseline="0" dirty="0">
                <a:solidFill>
                  <a:srgbClr val="FFFFFF"/>
                </a:solidFill>
                <a:latin typeface="Arial"/>
              </a:rPr>
              <a:t>u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hav</a:t>
            </a:r>
            <a:r>
              <a:rPr lang="fr-FR" sz="1802" b="0" i="0" spc="517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to </a:t>
            </a:r>
          </a:p>
          <a:p>
            <a:pPr marL="0">
              <a:lnSpc>
                <a:spcPts val="2179"/>
              </a:lnSpc>
            </a:pP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appl</a:t>
            </a:r>
            <a:r>
              <a:rPr lang="fr-FR" sz="1802" b="0" i="0" spc="472" baseline="0" dirty="0">
                <a:solidFill>
                  <a:srgbClr val="FFFFFF"/>
                </a:solidFill>
                <a:latin typeface="Arial"/>
              </a:rPr>
              <a:t>y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t</a:t>
            </a:r>
            <a:r>
              <a:rPr lang="fr-FR" sz="1802" b="0" i="0" spc="437" baseline="0" dirty="0">
                <a:solidFill>
                  <a:srgbClr val="FFFFFF"/>
                </a:solidFill>
                <a:latin typeface="Arial"/>
              </a:rPr>
              <a:t>o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several </a:t>
            </a:r>
          </a:p>
          <a:p>
            <a:pPr marL="104140">
              <a:lnSpc>
                <a:spcPts val="2178"/>
              </a:lnSpc>
            </a:pP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consultancies</a:t>
            </a:r>
          </a:p>
        </p:txBody>
      </p:sp>
      <p:sp>
        <p:nvSpPr>
          <p:cNvPr id="363" name="Rectangle 363"/>
          <p:cNvSpPr/>
          <p:nvPr/>
        </p:nvSpPr>
        <p:spPr>
          <a:xfrm>
            <a:off x="7894701" y="3287241"/>
            <a:ext cx="2241930" cy="113623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67182"/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As you have chosen </a:t>
            </a:r>
          </a:p>
          <a:p>
            <a:pPr marL="0">
              <a:lnSpc>
                <a:spcPts val="2179"/>
              </a:lnSpc>
            </a:pP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your Business School </a:t>
            </a:r>
          </a:p>
          <a:p>
            <a:pPr marL="206375">
              <a:lnSpc>
                <a:spcPts val="2178"/>
              </a:lnSpc>
            </a:pP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yo</a:t>
            </a:r>
            <a:r>
              <a:rPr lang="fr-FR" sz="1802" b="0" i="0" spc="500" baseline="0" dirty="0">
                <a:solidFill>
                  <a:srgbClr val="FFFFFF"/>
                </a:solidFill>
                <a:latin typeface="Arial"/>
              </a:rPr>
              <a:t>u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shoul</a:t>
            </a:r>
            <a:r>
              <a:rPr lang="fr-FR" sz="1802" b="0" i="0" spc="509" baseline="0" dirty="0">
                <a:solidFill>
                  <a:srgbClr val="FFFFFF"/>
                </a:solidFill>
                <a:latin typeface="Arial"/>
              </a:rPr>
              <a:t>d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chose</a:t>
            </a:r>
          </a:p>
          <a:p>
            <a:pPr marL="70739">
              <a:lnSpc>
                <a:spcPts val="2177"/>
              </a:lnSpc>
            </a:pP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th</a:t>
            </a:r>
            <a:r>
              <a:rPr lang="fr-FR" sz="1802" b="0" i="0" spc="451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consultanc</a:t>
            </a:r>
            <a:r>
              <a:rPr lang="fr-FR" sz="1802" b="0" i="0" spc="457" baseline="0" dirty="0">
                <a:solidFill>
                  <a:srgbClr val="FFFFFF"/>
                </a:solidFill>
                <a:latin typeface="Arial"/>
              </a:rPr>
              <a:t>y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firm </a:t>
            </a:r>
          </a:p>
        </p:txBody>
      </p:sp>
      <p:sp>
        <p:nvSpPr>
          <p:cNvPr id="364" name="Rectangle 364"/>
          <p:cNvSpPr/>
          <p:nvPr/>
        </p:nvSpPr>
        <p:spPr>
          <a:xfrm>
            <a:off x="8118220" y="4393792"/>
            <a:ext cx="1778200" cy="85010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wher</a:t>
            </a:r>
            <a:r>
              <a:rPr lang="fr-FR" sz="1802" b="0" i="0" spc="971" baseline="0" dirty="0">
                <a:solidFill>
                  <a:srgbClr val="FFFFFF"/>
                </a:solidFill>
                <a:latin typeface="Arial"/>
              </a:rPr>
              <a:t>e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you feel </a:t>
            </a:r>
          </a:p>
          <a:p>
            <a:pPr marL="0">
              <a:lnSpc>
                <a:spcPts val="2102"/>
              </a:lnSpc>
            </a:pP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yo</a:t>
            </a:r>
            <a:r>
              <a:rPr lang="fr-FR" sz="1802" b="0" i="0" spc="495" baseline="0" dirty="0">
                <a:solidFill>
                  <a:srgbClr val="FFFFFF"/>
                </a:solidFill>
                <a:latin typeface="Arial"/>
              </a:rPr>
              <a:t>u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woul</a:t>
            </a:r>
            <a:r>
              <a:rPr lang="fr-FR" sz="1802" b="0" i="0" spc="492" baseline="0" dirty="0">
                <a:solidFill>
                  <a:srgbClr val="FFFFFF"/>
                </a:solidFill>
                <a:latin typeface="Arial"/>
              </a:rPr>
              <a:t>d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get on </a:t>
            </a:r>
          </a:p>
          <a:p>
            <a:pPr marL="0">
              <a:lnSpc>
                <a:spcPts val="2179"/>
              </a:lnSpc>
            </a:pP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wel</a:t>
            </a:r>
            <a:r>
              <a:rPr lang="fr-FR" sz="1802" b="0" i="0" spc="547" baseline="0" dirty="0">
                <a:solidFill>
                  <a:srgbClr val="FFFFFF"/>
                </a:solidFill>
                <a:latin typeface="Arial"/>
              </a:rPr>
              <a:t>l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wit</a:t>
            </a:r>
            <a:r>
              <a:rPr lang="fr-FR" sz="1802" b="0" i="0" spc="488" baseline="0" dirty="0">
                <a:solidFill>
                  <a:srgbClr val="FFFFFF"/>
                </a:solidFill>
                <a:latin typeface="Arial"/>
              </a:rPr>
              <a:t>h</a:t>
            </a:r>
            <a:r>
              <a:rPr lang="fr-FR" sz="1802" b="0" i="0" spc="0" baseline="0" dirty="0">
                <a:solidFill>
                  <a:srgbClr val="FFFFFF"/>
                </a:solidFill>
                <a:latin typeface="Arial"/>
              </a:rPr>
              <a:t>people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noFill/>
        <a:pattFill/>
        <a:grpFill/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0">
              <a:schemeClr val="phClr">
                <a:tint val="50000"/>
                <a:satMod val="300000"/>
              </a:schemeClr>
            </a:gs>
            <a:gs pos="0">
              <a:schemeClr val="phClr">
                <a:tint val="50000"/>
                <a:satMod val="300000"/>
              </a:schemeClr>
            </a:gs>
          </a:gsLst>
          <a:lin ang="16200000" scaled="1"/>
        </a:gradFill>
        <a:gradFill>
          <a:gsLst>
            <a:gs pos="0">
              <a:schemeClr val="phClr">
                <a:tint val="50000"/>
                <a:satMod val="300000"/>
              </a:schemeClr>
            </a:gs>
            <a:gs pos="0">
              <a:schemeClr val="phClr">
                <a:tint val="50000"/>
                <a:satMod val="30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4</TotalTime>
  <Words>1128</Words>
  <Application>Microsoft Office PowerPoint</Application>
  <PresentationFormat>Widescreen</PresentationFormat>
  <Paragraphs>437</Paragraphs>
  <Slides>3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8" baseType="lpstr">
      <vt:lpstr>EYInterstate-Light</vt:lpstr>
      <vt:lpstr>Arial</vt:lpstr>
      <vt:lpstr>EYInterstate Light</vt:lpstr>
      <vt:lpstr>Calibri</vt:lpstr>
      <vt:lpstr>Apto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Pierre Emmanuel Hassoun</cp:lastModifiedBy>
  <cp:revision>7</cp:revision>
  <dcterms:modified xsi:type="dcterms:W3CDTF">2024-11-16T09:52:08Z</dcterms:modified>
</cp:coreProperties>
</file>